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notesSlides/notesSlide3.xml" ContentType="application/vnd.openxmlformats-officedocument.presentationml.notesSlide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notesSlides/notesSlide4.xml" ContentType="application/vnd.openxmlformats-officedocument.presentationml.notesSlide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notesSlides/notesSlide5.xml" ContentType="application/vnd.openxmlformats-officedocument.presentationml.notesSlide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notesSlides/notesSlide7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notesSlides/notesSlide8.xml" ContentType="application/vnd.openxmlformats-officedocument.presentationml.notesSlide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notesSlides/notesSlide9.xml" ContentType="application/vnd.openxmlformats-officedocument.presentationml.notesSlide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notesSlides/notesSlide10.xml" ContentType="application/vnd.openxmlformats-officedocument.presentationml.notesSlide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notesSlides/notesSlide12.xml" ContentType="application/vnd.openxmlformats-officedocument.presentationml.notesSlide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5056" r:id="rId1"/>
    <p:sldMasterId id="2147486601" r:id="rId2"/>
    <p:sldMasterId id="2147486631" r:id="rId3"/>
  </p:sldMasterIdLst>
  <p:notesMasterIdLst>
    <p:notesMasterId r:id="rId24"/>
  </p:notesMasterIdLst>
  <p:handoutMasterIdLst>
    <p:handoutMasterId r:id="rId25"/>
  </p:handoutMasterIdLst>
  <p:sldIdLst>
    <p:sldId id="2248" r:id="rId4"/>
    <p:sldId id="2249" r:id="rId5"/>
    <p:sldId id="2250" r:id="rId6"/>
    <p:sldId id="2281" r:id="rId7"/>
    <p:sldId id="2251" r:id="rId8"/>
    <p:sldId id="2253" r:id="rId9"/>
    <p:sldId id="2254" r:id="rId10"/>
    <p:sldId id="2271" r:id="rId11"/>
    <p:sldId id="2256" r:id="rId12"/>
    <p:sldId id="2269" r:id="rId13"/>
    <p:sldId id="2259" r:id="rId14"/>
    <p:sldId id="2260" r:id="rId15"/>
    <p:sldId id="2272" r:id="rId16"/>
    <p:sldId id="2266" r:id="rId17"/>
    <p:sldId id="2270" r:id="rId18"/>
    <p:sldId id="2277" r:id="rId19"/>
    <p:sldId id="2278" r:id="rId20"/>
    <p:sldId id="2282" r:id="rId21"/>
    <p:sldId id="2283" r:id="rId22"/>
    <p:sldId id="2267" r:id="rId23"/>
  </p:sldIdLst>
  <p:sldSz cx="9144000" cy="5143500" type="screen16x9"/>
  <p:notesSz cx="6858000" cy="9947275"/>
  <p:custDataLst>
    <p:tags r:id="rId26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3951" indent="158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09511" indent="158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65057" indent="158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19023" indent="3172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77734" algn="l" defTabSz="91109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33284" algn="l" defTabSz="91109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188823" algn="l" defTabSz="91109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44370" algn="l" defTabSz="91109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k224_5" initials="k" lastIdx="4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DF9F7"/>
    <a:srgbClr val="8DF7F4"/>
    <a:srgbClr val="FC6468"/>
    <a:srgbClr val="FEBABC"/>
    <a:srgbClr val="CC0066"/>
    <a:srgbClr val="FE0000"/>
    <a:srgbClr val="C80823"/>
    <a:srgbClr val="C7FBFA"/>
    <a:srgbClr val="FFFF05"/>
    <a:srgbClr val="6600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6D9F66E-5EB9-4882-86FB-DCBF35E3C3E4}" styleName="Средний стиль 4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Светлый стиль 2 -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B301B821-A1FF-4177-AEE7-76D212191A09}" styleName="Средний стиль 1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DA37D80-6434-44D0-A028-1B22A696006F}" styleName="Светлый стиль 3 -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083E6E3-FA7D-4D7B-A595-EF9225AFEA82}" styleName="Светлый стиль 1 -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69CF1AB2-1976-4502-BF36-3FF5EA218861}" styleName="Средний стиль 4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330" autoAdjust="0"/>
    <p:restoredTop sz="97444" autoAdjust="0"/>
  </p:normalViewPr>
  <p:slideViewPr>
    <p:cSldViewPr snapToGrid="0">
      <p:cViewPr>
        <p:scale>
          <a:sx n="100" d="100"/>
          <a:sy n="100" d="100"/>
        </p:scale>
        <p:origin x="-420" y="-774"/>
      </p:cViewPr>
      <p:guideLst>
        <p:guide orient="horz" pos="1620"/>
        <p:guide pos="2881"/>
      </p:guideLst>
    </p:cSldViewPr>
  </p:slideViewPr>
  <p:outlineViewPr>
    <p:cViewPr>
      <p:scale>
        <a:sx n="33" d="100"/>
        <a:sy n="33" d="100"/>
      </p:scale>
      <p:origin x="0" y="180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&#1050;&#1085;&#1080;&#1075;&#1072;1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&#1050;&#1085;&#1080;&#1075;&#1072;1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D:\&#1041;&#1077;&#1083;&#1103;&#1082;&#1086;&#1074;&#1072;%20&#1052;&#1054;\&#1055;&#1088;&#1077;&#1079;&#1077;&#1085;&#1090;&#1072;&#1094;&#1080;&#1080;\&#1082;&#1087;&#1088;&#1077;&#1079;&#1077;&#1085;&#1090;&#1072;&#1094;&#1080;&#1080;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&#1050;&#1085;&#1080;&#1075;&#1072;1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D:\&#1041;&#1077;&#1083;&#1103;&#1082;&#1086;&#1074;&#1072;%20&#1052;&#1054;\&#1050;&#1085;&#1080;&#1075;&#1072;1.xlsx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\\IRK.SZN\dfs\pub\Stat\EXPRESS\express_inf.xls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K$11</c:f>
              <c:strCache>
                <c:ptCount val="1"/>
                <c:pt idx="0">
                  <c:v>ВВП</c:v>
                </c:pt>
              </c:strCache>
            </c:strRef>
          </c:tx>
          <c:invertIfNegative val="0"/>
          <c:dLbls>
            <c:txPr>
              <a:bodyPr/>
              <a:lstStyle/>
              <a:p>
                <a:pPr>
                  <a:defRPr sz="14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L$10:$P$10</c:f>
              <c:strCache>
                <c:ptCount val="5"/>
                <c:pt idx="0">
                  <c:v>2015 г.</c:v>
                </c:pt>
                <c:pt idx="1">
                  <c:v>I квартал</c:v>
                </c:pt>
                <c:pt idx="2">
                  <c:v>II квартал</c:v>
                </c:pt>
                <c:pt idx="3">
                  <c:v>III квартал</c:v>
                </c:pt>
                <c:pt idx="4">
                  <c:v>IV квартал</c:v>
                </c:pt>
              </c:strCache>
            </c:strRef>
          </c:cat>
          <c:val>
            <c:numRef>
              <c:f>Лист1!$L$11:$P$11</c:f>
              <c:numCache>
                <c:formatCode>General</c:formatCode>
                <c:ptCount val="5"/>
                <c:pt idx="0">
                  <c:v>96.3</c:v>
                </c:pt>
                <c:pt idx="1">
                  <c:v>97.2</c:v>
                </c:pt>
                <c:pt idx="2">
                  <c:v>95.5</c:v>
                </c:pt>
                <c:pt idx="3">
                  <c:v>96.3</c:v>
                </c:pt>
                <c:pt idx="4">
                  <c:v>96.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9606400"/>
        <c:axId val="109607936"/>
      </c:barChart>
      <c:catAx>
        <c:axId val="109606400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ru-RU"/>
          </a:p>
        </c:txPr>
        <c:crossAx val="109607936"/>
        <c:crosses val="autoZero"/>
        <c:auto val="1"/>
        <c:lblAlgn val="ctr"/>
        <c:lblOffset val="100"/>
        <c:noMultiLvlLbl val="0"/>
      </c:catAx>
      <c:valAx>
        <c:axId val="109607936"/>
        <c:scaling>
          <c:orientation val="minMax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crossAx val="109606400"/>
        <c:crosses val="autoZero"/>
        <c:crossBetween val="between"/>
      </c:valAx>
    </c:plotArea>
    <c:plotVisOnly val="1"/>
    <c:dispBlanksAs val="gap"/>
    <c:showDLblsOverMax val="0"/>
  </c:chart>
  <c:spPr>
    <a:noFill/>
    <a:ln>
      <a:noFill/>
    </a:ln>
  </c:sp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clustered"/>
        <c:varyColors val="0"/>
        <c:ser>
          <c:idx val="0"/>
          <c:order val="0"/>
          <c:invertIfNegative val="0"/>
          <c:dLbls>
            <c:dLbl>
              <c:idx val="0"/>
              <c:layout>
                <c:manualLayout>
                  <c:x val="4.7003519465625499E-3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sz="1050" dirty="0" smtClean="0"/>
                      <a:t>1,</a:t>
                    </a:r>
                    <a:r>
                      <a:rPr lang="ru-RU" sz="1050" dirty="0" smtClean="0"/>
                      <a:t>9</a:t>
                    </a:r>
                    <a:r>
                      <a:rPr lang="en-US" sz="1050" dirty="0" smtClean="0"/>
                      <a:t>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3.1335679643750333E-3"/>
                  <c:y val="-4.2844337749673687E-3"/>
                </c:manualLayout>
              </c:layout>
              <c:tx>
                <c:rich>
                  <a:bodyPr/>
                  <a:lstStyle/>
                  <a:p>
                    <a:r>
                      <a:rPr lang="en-US" sz="1050" dirty="0" smtClean="0"/>
                      <a:t>2,2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1.5667839821875741E-3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sz="1050" dirty="0" smtClean="0"/>
                      <a:t>4,4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z="1050" dirty="0" smtClean="0"/>
                      <a:t>6,5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z="1050" dirty="0" smtClean="0"/>
                      <a:t>6,</a:t>
                    </a:r>
                    <a:r>
                      <a:rPr lang="ru-RU" sz="1050" dirty="0" smtClean="0"/>
                      <a:t>7</a:t>
                    </a:r>
                    <a:r>
                      <a:rPr lang="en-US" sz="1050" dirty="0" smtClean="0"/>
                      <a:t>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3.1335679643750333E-3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sz="1050" dirty="0" smtClean="0"/>
                      <a:t>7,</a:t>
                    </a:r>
                    <a:r>
                      <a:rPr lang="ru-RU" sz="1050" dirty="0" smtClean="0"/>
                      <a:t>1</a:t>
                    </a:r>
                    <a:r>
                      <a:rPr lang="en-US" sz="1050" dirty="0" smtClean="0"/>
                      <a:t>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z="1050" dirty="0" smtClean="0"/>
                      <a:t>7,</a:t>
                    </a:r>
                    <a:r>
                      <a:rPr lang="ru-RU" sz="1050" dirty="0" smtClean="0"/>
                      <a:t>8</a:t>
                    </a:r>
                    <a:r>
                      <a:rPr lang="en-US" sz="1050" dirty="0" smtClean="0"/>
                      <a:t>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/>
              <c:tx>
                <c:rich>
                  <a:bodyPr/>
                  <a:lstStyle/>
                  <a:p>
                    <a:pPr>
                      <a:defRPr sz="1400" b="1">
                        <a:solidFill>
                          <a:srgbClr val="C00000"/>
                        </a:solidFill>
                      </a:defRPr>
                    </a:pPr>
                    <a:r>
                      <a:rPr lang="en-US" sz="1400" dirty="0" smtClean="0"/>
                      <a:t>10,</a:t>
                    </a:r>
                    <a:r>
                      <a:rPr lang="ru-RU" sz="1400" dirty="0" smtClean="0"/>
                      <a:t>0</a:t>
                    </a:r>
                    <a:r>
                      <a:rPr lang="en-US" sz="1400" dirty="0" smtClean="0"/>
                      <a:t> %</a:t>
                    </a:r>
                    <a:endParaRPr lang="en-US" sz="1400" dirty="0"/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/>
              <c:tx>
                <c:rich>
                  <a:bodyPr/>
                  <a:lstStyle/>
                  <a:p>
                    <a:pPr>
                      <a:defRPr sz="1400" b="1">
                        <a:solidFill>
                          <a:srgbClr val="C00000"/>
                        </a:solidFill>
                      </a:defRPr>
                    </a:pPr>
                    <a:r>
                      <a:rPr lang="en-US" sz="1400" dirty="0" smtClean="0"/>
                      <a:t>17,</a:t>
                    </a:r>
                    <a:r>
                      <a:rPr lang="ru-RU" sz="1400" dirty="0" smtClean="0"/>
                      <a:t>3</a:t>
                    </a:r>
                    <a:r>
                      <a:rPr lang="en-US" sz="1400" dirty="0" smtClean="0"/>
                      <a:t> %</a:t>
                    </a:r>
                    <a:endParaRPr lang="en-US" sz="1400" dirty="0"/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>
                <c:manualLayout>
                  <c:x val="0"/>
                  <c:y val="0"/>
                </c:manualLayout>
              </c:layout>
              <c:tx>
                <c:rich>
                  <a:bodyPr/>
                  <a:lstStyle/>
                  <a:p>
                    <a:pPr>
                      <a:defRPr sz="1600" b="1">
                        <a:solidFill>
                          <a:srgbClr val="C00000"/>
                        </a:solidFill>
                      </a:defRPr>
                    </a:pPr>
                    <a:r>
                      <a:rPr lang="en-US" sz="1600" dirty="0" smtClean="0"/>
                      <a:t>29</a:t>
                    </a:r>
                    <a:r>
                      <a:rPr lang="ru-RU" sz="1600" dirty="0" smtClean="0"/>
                      <a:t>,3</a:t>
                    </a:r>
                    <a:r>
                      <a:rPr lang="ru-RU" sz="1600" baseline="0" dirty="0" smtClean="0"/>
                      <a:t> </a:t>
                    </a:r>
                    <a:r>
                      <a:rPr lang="en-US" sz="1600" dirty="0" smtClean="0"/>
                      <a:t>%</a:t>
                    </a:r>
                    <a:endParaRPr lang="en-US" sz="1600" dirty="0"/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05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C$54:$C$63</c:f>
              <c:strCache>
                <c:ptCount val="10"/>
                <c:pt idx="0">
                  <c:v>Здравоохранение</c:v>
                </c:pt>
                <c:pt idx="1">
                  <c:v>Финансовая деятельность</c:v>
                </c:pt>
                <c:pt idx="2">
                  <c:v>Образование</c:v>
                </c:pt>
                <c:pt idx="3">
                  <c:v>Сельское хозяйство, охота и лесное хозяйство</c:v>
                </c:pt>
                <c:pt idx="4">
                  <c:v>Прочие коммунальные услуги</c:v>
                </c:pt>
                <c:pt idx="5">
                  <c:v>Обрабатывающие производства</c:v>
                </c:pt>
                <c:pt idx="6">
                  <c:v>Транспорт и связь</c:v>
                </c:pt>
                <c:pt idx="7">
                  <c:v>Строительство</c:v>
                </c:pt>
                <c:pt idx="8">
                  <c:v>Операции с недвижимым имуществом</c:v>
                </c:pt>
                <c:pt idx="9">
                  <c:v>Оптовая и розничная торговля</c:v>
                </c:pt>
              </c:strCache>
            </c:strRef>
          </c:cat>
          <c:val>
            <c:numRef>
              <c:f>Лист1!$D$54:$D$63</c:f>
              <c:numCache>
                <c:formatCode>General</c:formatCode>
                <c:ptCount val="10"/>
                <c:pt idx="0">
                  <c:v>1.8</c:v>
                </c:pt>
                <c:pt idx="1">
                  <c:v>2.2000000000000002</c:v>
                </c:pt>
                <c:pt idx="2">
                  <c:v>4.4000000000000004</c:v>
                </c:pt>
                <c:pt idx="3">
                  <c:v>6.5</c:v>
                </c:pt>
                <c:pt idx="4">
                  <c:v>6.6</c:v>
                </c:pt>
                <c:pt idx="5">
                  <c:v>7.2</c:v>
                </c:pt>
                <c:pt idx="6">
                  <c:v>7.7</c:v>
                </c:pt>
                <c:pt idx="7">
                  <c:v>10.1</c:v>
                </c:pt>
                <c:pt idx="8">
                  <c:v>17.2</c:v>
                </c:pt>
                <c:pt idx="9">
                  <c:v>29.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9744512"/>
        <c:axId val="109746048"/>
      </c:barChart>
      <c:catAx>
        <c:axId val="109744512"/>
        <c:scaling>
          <c:orientation val="minMax"/>
        </c:scaling>
        <c:delete val="0"/>
        <c:axPos val="l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ru-RU"/>
          </a:p>
        </c:txPr>
        <c:crossAx val="109746048"/>
        <c:crosses val="autoZero"/>
        <c:auto val="1"/>
        <c:lblAlgn val="ctr"/>
        <c:lblOffset val="100"/>
        <c:noMultiLvlLbl val="0"/>
      </c:catAx>
      <c:valAx>
        <c:axId val="109746048"/>
        <c:scaling>
          <c:orientation val="minMax"/>
        </c:scaling>
        <c:delete val="0"/>
        <c:axPos val="b"/>
        <c:majorGridlines/>
        <c:numFmt formatCode="General" sourceLinked="1"/>
        <c:majorTickMark val="out"/>
        <c:minorTickMark val="none"/>
        <c:tickLblPos val="nextTo"/>
        <c:crossAx val="109744512"/>
        <c:crosses val="autoZero"/>
        <c:crossBetween val="between"/>
      </c:valAx>
    </c:plotArea>
    <c:plotVisOnly val="1"/>
    <c:dispBlanksAs val="gap"/>
    <c:showDLblsOverMax val="0"/>
  </c:chart>
  <c:spPr>
    <a:noFill/>
    <a:ln>
      <a:noFill/>
    </a:ln>
  </c:sp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6106813280520885E-2"/>
          <c:y val="7.8547814872208174E-2"/>
          <c:w val="0.71183599001344344"/>
          <c:h val="0.79270440251572327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24</c:f>
              <c:strCache>
                <c:ptCount val="1"/>
                <c:pt idx="0">
                  <c:v>РФ</c:v>
                </c:pt>
              </c:strCache>
            </c:strRef>
          </c:tx>
          <c:spPr>
            <a:ln>
              <a:solidFill>
                <a:schemeClr val="accent5">
                  <a:lumMod val="25000"/>
                </a:schemeClr>
              </a:solidFill>
            </a:ln>
          </c:spPr>
          <c:marker>
            <c:spPr>
              <a:solidFill>
                <a:schemeClr val="accent5">
                  <a:lumMod val="25000"/>
                </a:schemeClr>
              </a:solidFill>
              <a:ln>
                <a:solidFill>
                  <a:schemeClr val="accent5">
                    <a:lumMod val="25000"/>
                  </a:schemeClr>
                </a:solidFill>
              </a:ln>
            </c:spPr>
          </c:marker>
          <c:dLbls>
            <c:dLbl>
              <c:idx val="0"/>
              <c:layout>
                <c:manualLayout>
                  <c:x val="-5.9216809933142309E-2"/>
                  <c:y val="8.836905274023873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4.0114613180515728E-2"/>
                  <c:y val="7.797269359432833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3.0563514804202482E-2"/>
                  <c:y val="7.797269359432833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4.5845272206303793E-2"/>
                  <c:y val="7.797269359432833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</c:spPr>
            <c:txPr>
              <a:bodyPr/>
              <a:lstStyle/>
              <a:p>
                <a:pPr>
                  <a:defRPr sz="1200" b="1">
                    <a:solidFill>
                      <a:srgbClr val="002060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C$23:$H$23</c:f>
              <c:strCache>
                <c:ptCount val="6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1 квартал 2016 </c:v>
                </c:pt>
              </c:strCache>
            </c:strRef>
          </c:cat>
          <c:val>
            <c:numRef>
              <c:f>Лист1!$C$24:$H$24</c:f>
              <c:numCache>
                <c:formatCode>0.0</c:formatCode>
                <c:ptCount val="6"/>
                <c:pt idx="0">
                  <c:v>105</c:v>
                </c:pt>
                <c:pt idx="1">
                  <c:v>103.4</c:v>
                </c:pt>
                <c:pt idx="2">
                  <c:v>100.4</c:v>
                </c:pt>
                <c:pt idx="3">
                  <c:v>101.7</c:v>
                </c:pt>
                <c:pt idx="4">
                  <c:v>96.6</c:v>
                </c:pt>
                <c:pt idx="5">
                  <c:v>99.4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Лист1!$B$25</c:f>
              <c:strCache>
                <c:ptCount val="1"/>
                <c:pt idx="0">
                  <c:v>СФО</c:v>
                </c:pt>
              </c:strCache>
            </c:strRef>
          </c:tx>
          <c:spPr>
            <a:ln>
              <a:solidFill>
                <a:srgbClr val="FF0000"/>
              </a:solidFill>
            </a:ln>
          </c:spPr>
          <c:marker>
            <c:spPr>
              <a:solidFill>
                <a:srgbClr val="FE0000"/>
              </a:solidFill>
            </c:spPr>
          </c:marker>
          <c:dLbls>
            <c:dLbl>
              <c:idx val="0"/>
              <c:layout>
                <c:manualLayout>
                  <c:x val="-3.8769490096923723E-2"/>
                  <c:y val="-5.031446540880499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3.5398230088495547E-2"/>
                  <c:y val="-6.289308176100624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2.1913190054783038E-2"/>
                  <c:y val="-5.870020964360587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1.6856300042140751E-3"/>
                  <c:y val="-1.257861635220125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2.977002696998497E-3"/>
                  <c:y val="-5.311700614824314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0"/>
                  <c:y val="5.87002096436059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</c:spPr>
            <c:txPr>
              <a:bodyPr/>
              <a:lstStyle/>
              <a:p>
                <a:pPr>
                  <a:defRPr sz="1200" b="1">
                    <a:solidFill>
                      <a:srgbClr val="C00000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C$23:$H$23</c:f>
              <c:strCache>
                <c:ptCount val="6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1 квартал 2016 </c:v>
                </c:pt>
              </c:strCache>
            </c:strRef>
          </c:cat>
          <c:val>
            <c:numRef>
              <c:f>Лист1!$C$25:$H$25</c:f>
              <c:numCache>
                <c:formatCode>0.0</c:formatCode>
                <c:ptCount val="6"/>
                <c:pt idx="0">
                  <c:v>106.4</c:v>
                </c:pt>
                <c:pt idx="1">
                  <c:v>107.2</c:v>
                </c:pt>
                <c:pt idx="2">
                  <c:v>104.7</c:v>
                </c:pt>
                <c:pt idx="3">
                  <c:v>102.7</c:v>
                </c:pt>
                <c:pt idx="4">
                  <c:v>100.2</c:v>
                </c:pt>
                <c:pt idx="5">
                  <c:v>99.2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Лист1!$B$26</c:f>
              <c:strCache>
                <c:ptCount val="1"/>
                <c:pt idx="0">
                  <c:v>Иркутская область </c:v>
                </c:pt>
              </c:strCache>
            </c:strRef>
          </c:tx>
          <c:spPr>
            <a:ln>
              <a:solidFill>
                <a:srgbClr val="00B050"/>
              </a:solidFill>
            </a:ln>
          </c:spPr>
          <c:marker>
            <c:spPr>
              <a:solidFill>
                <a:srgbClr val="00B050"/>
              </a:solidFill>
            </c:spPr>
          </c:marker>
          <c:dLbls>
            <c:dLbl>
              <c:idx val="0"/>
              <c:layout>
                <c:manualLayout>
                  <c:x val="-5.5625790139064477E-2"/>
                  <c:y val="-5.03144654088050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8.4281500210703752E-3"/>
                  <c:y val="-2.515723270440250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8.933839022334604E-2"/>
                  <c:y val="-1.677148846960167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2.5284450063211186E-2"/>
                  <c:y val="-5.031446540880506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1.8650629409790797E-2"/>
                  <c:y val="-5.730979690671499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 b="1">
                    <a:solidFill>
                      <a:srgbClr val="008000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C$23:$H$23</c:f>
              <c:strCache>
                <c:ptCount val="6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1 квартал 2016 </c:v>
                </c:pt>
              </c:strCache>
            </c:strRef>
          </c:cat>
          <c:val>
            <c:numRef>
              <c:f>Лист1!$C$26:$H$26</c:f>
              <c:numCache>
                <c:formatCode>0.0</c:formatCode>
                <c:ptCount val="6"/>
                <c:pt idx="0">
                  <c:v>111.4</c:v>
                </c:pt>
                <c:pt idx="1">
                  <c:v>112.9</c:v>
                </c:pt>
                <c:pt idx="2">
                  <c:v>102.5</c:v>
                </c:pt>
                <c:pt idx="3">
                  <c:v>104.4</c:v>
                </c:pt>
                <c:pt idx="4">
                  <c:v>104.5</c:v>
                </c:pt>
                <c:pt idx="5">
                  <c:v>10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5841408"/>
        <c:axId val="125884288"/>
      </c:lineChart>
      <c:catAx>
        <c:axId val="12584140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100" b="1"/>
            </a:pPr>
            <a:endParaRPr lang="ru-RU"/>
          </a:p>
        </c:txPr>
        <c:crossAx val="125884288"/>
        <c:crosses val="autoZero"/>
        <c:auto val="1"/>
        <c:lblAlgn val="ctr"/>
        <c:lblOffset val="100"/>
        <c:noMultiLvlLbl val="0"/>
      </c:catAx>
      <c:valAx>
        <c:axId val="125884288"/>
        <c:scaling>
          <c:orientation val="minMax"/>
          <c:min val="90"/>
        </c:scaling>
        <c:delete val="0"/>
        <c:axPos val="l"/>
        <c:majorGridlines/>
        <c:numFmt formatCode="0.0" sourceLinked="1"/>
        <c:majorTickMark val="out"/>
        <c:minorTickMark val="none"/>
        <c:tickLblPos val="nextTo"/>
        <c:crossAx val="12584140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0472351321938418"/>
          <c:y val="0.39268393337625251"/>
          <c:w val="0.19527648678061585"/>
          <c:h val="0.2146318031000842"/>
        </c:manualLayout>
      </c:layout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32"/>
    </mc:Choice>
    <mc:Fallback>
      <c:style val="32"/>
    </mc:Fallback>
  </mc:AlternateContent>
  <c:chart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Лист1!$C$86</c:f>
              <c:strCache>
                <c:ptCount val="1"/>
                <c:pt idx="0">
                  <c:v>Родившиеся</c:v>
                </c:pt>
              </c:strCache>
            </c:strRef>
          </c:tx>
          <c:spPr>
            <a:solidFill>
              <a:srgbClr val="99EB35"/>
            </a:solidFill>
          </c:spPr>
          <c:invertIfNegative val="0"/>
          <c:dLbls>
            <c:numFmt formatCode="#,##0" sourceLinked="0"/>
            <c:txPr>
              <a:bodyPr/>
              <a:lstStyle/>
              <a:p>
                <a:pPr>
                  <a:defRPr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B$87:$B$91</c:f>
              <c:numCache>
                <c:formatCode>General</c:formatCode>
                <c:ptCount val="5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</c:numCache>
            </c:numRef>
          </c:cat>
          <c:val>
            <c:numRef>
              <c:f>Лист1!$C$87:$C$91</c:f>
              <c:numCache>
                <c:formatCode>General</c:formatCode>
                <c:ptCount val="5"/>
                <c:pt idx="0">
                  <c:v>37110</c:v>
                </c:pt>
                <c:pt idx="1">
                  <c:v>38555</c:v>
                </c:pt>
                <c:pt idx="2">
                  <c:v>37908</c:v>
                </c:pt>
                <c:pt idx="3">
                  <c:v>36856</c:v>
                </c:pt>
                <c:pt idx="4">
                  <c:v>37143</c:v>
                </c:pt>
              </c:numCache>
            </c:numRef>
          </c:val>
        </c:ser>
        <c:ser>
          <c:idx val="1"/>
          <c:order val="1"/>
          <c:tx>
            <c:strRef>
              <c:f>Лист1!$D$86</c:f>
              <c:strCache>
                <c:ptCount val="1"/>
                <c:pt idx="0">
                  <c:v>Умершие </c:v>
                </c:pt>
              </c:strCache>
            </c:strRef>
          </c:tx>
          <c:spPr>
            <a:solidFill>
              <a:schemeClr val="accent4">
                <a:lumMod val="75000"/>
                <a:lumOff val="25000"/>
              </a:schemeClr>
            </a:solidFill>
          </c:spPr>
          <c:invertIfNegative val="0"/>
          <c:dLbls>
            <c:numFmt formatCode="#,##0" sourceLinked="0"/>
            <c:txPr>
              <a:bodyPr/>
              <a:lstStyle/>
              <a:p>
                <a:pPr>
                  <a:defRPr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B$87:$B$91</c:f>
              <c:numCache>
                <c:formatCode>General</c:formatCode>
                <c:ptCount val="5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</c:numCache>
            </c:numRef>
          </c:cat>
          <c:val>
            <c:numRef>
              <c:f>Лист1!$D$87:$D$91</c:f>
              <c:numCache>
                <c:formatCode>General</c:formatCode>
                <c:ptCount val="5"/>
                <c:pt idx="0">
                  <c:v>33910</c:v>
                </c:pt>
                <c:pt idx="1">
                  <c:v>33639</c:v>
                </c:pt>
                <c:pt idx="2">
                  <c:v>33033</c:v>
                </c:pt>
                <c:pt idx="3">
                  <c:v>33127</c:v>
                </c:pt>
                <c:pt idx="4">
                  <c:v>3304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9845120"/>
        <c:axId val="109851008"/>
      </c:barChart>
      <c:catAx>
        <c:axId val="10984512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crossAx val="109851008"/>
        <c:crosses val="autoZero"/>
        <c:auto val="1"/>
        <c:lblAlgn val="ctr"/>
        <c:lblOffset val="100"/>
        <c:noMultiLvlLbl val="0"/>
      </c:catAx>
      <c:valAx>
        <c:axId val="1098510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crossAx val="109845120"/>
        <c:crosses val="autoZero"/>
        <c:crossBetween val="between"/>
      </c:valAx>
      <c:spPr>
        <a:noFill/>
        <a:ln>
          <a:noFill/>
        </a:ln>
      </c:spPr>
    </c:plotArea>
    <c:legend>
      <c:legendPos val="r"/>
      <c:layout>
        <c:manualLayout>
          <c:xMode val="edge"/>
          <c:yMode val="edge"/>
          <c:x val="0.84694497833440108"/>
          <c:y val="0.27502825038705803"/>
          <c:w val="0.15305502166559889"/>
          <c:h val="0.29165824232738879"/>
        </c:manualLayout>
      </c:layout>
      <c:overlay val="0"/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00"/>
      </a:pPr>
      <a:endParaRPr lang="ru-R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8DF7F4"/>
            </a:solidFill>
          </c:spPr>
          <c:invertIfNegative val="0"/>
          <c:cat>
            <c:strRef>
              <c:f>Лист1!$A$197:$A$208</c:f>
              <c:strCache>
                <c:ptCount val="12"/>
                <c:pt idx="0">
                  <c:v>Иркутская область</c:v>
                </c:pt>
                <c:pt idx="1">
                  <c:v>Алтайский край</c:v>
                </c:pt>
                <c:pt idx="2">
                  <c:v>Забайкальский край</c:v>
                </c:pt>
                <c:pt idx="3">
                  <c:v>Красноярский край</c:v>
                </c:pt>
                <c:pt idx="4">
                  <c:v>Кемеровская область</c:v>
                </c:pt>
                <c:pt idx="5">
                  <c:v>Новосибирская область</c:v>
                </c:pt>
                <c:pt idx="6">
                  <c:v>Омская область</c:v>
                </c:pt>
                <c:pt idx="7">
                  <c:v>Томская область</c:v>
                </c:pt>
                <c:pt idx="8">
                  <c:v>Республика Алтай</c:v>
                </c:pt>
                <c:pt idx="9">
                  <c:v>Республика Бурятия</c:v>
                </c:pt>
                <c:pt idx="10">
                  <c:v>Республика Тыва</c:v>
                </c:pt>
                <c:pt idx="11">
                  <c:v>Республика Хакасия</c:v>
                </c:pt>
              </c:strCache>
            </c:strRef>
          </c:cat>
          <c:val>
            <c:numRef>
              <c:f>Лист1!$B$197:$B$208</c:f>
              <c:numCache>
                <c:formatCode>General</c:formatCode>
                <c:ptCount val="12"/>
                <c:pt idx="0">
                  <c:v>102.7</c:v>
                </c:pt>
                <c:pt idx="1">
                  <c:v>177.3</c:v>
                </c:pt>
                <c:pt idx="2">
                  <c:v>15.7</c:v>
                </c:pt>
                <c:pt idx="3">
                  <c:v>318</c:v>
                </c:pt>
                <c:pt idx="4">
                  <c:v>296.10000000000002</c:v>
                </c:pt>
                <c:pt idx="5">
                  <c:v>354.7</c:v>
                </c:pt>
                <c:pt idx="6">
                  <c:v>146.19999999999999</c:v>
                </c:pt>
                <c:pt idx="7">
                  <c:v>63.9</c:v>
                </c:pt>
                <c:pt idx="8">
                  <c:v>38.4</c:v>
                </c:pt>
                <c:pt idx="9">
                  <c:v>33.6</c:v>
                </c:pt>
                <c:pt idx="10">
                  <c:v>17.7</c:v>
                </c:pt>
                <c:pt idx="11">
                  <c:v>21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655552"/>
        <c:axId val="21920384"/>
      </c:barChart>
      <c:lineChart>
        <c:grouping val="standard"/>
        <c:varyColors val="0"/>
        <c:ser>
          <c:idx val="1"/>
          <c:order val="1"/>
          <c:tx>
            <c:strRef>
              <c:f>Лист1!$A$197:$A$208</c:f>
              <c:strCache>
                <c:ptCount val="1"/>
                <c:pt idx="0">
                  <c:v>Иркутская область Алтайский край Забайкальский край Красноярский край Кемеровская область Новосибирская область Омская область Томская область Республика Алтай Республика Бурятия Республика Тыва Республика Хакасия</c:v>
                </c:pt>
              </c:strCache>
            </c:strRef>
          </c:tx>
          <c:spPr>
            <a:ln>
              <a:solidFill>
                <a:srgbClr val="FF0000"/>
              </a:solidFill>
            </a:ln>
          </c:spPr>
          <c:marker>
            <c:symbol val="circle"/>
            <c:size val="8"/>
            <c:spPr>
              <a:solidFill>
                <a:srgbClr val="FF0000"/>
              </a:solidFill>
            </c:spPr>
          </c:marker>
          <c:dLbls>
            <c:dLbl>
              <c:idx val="0"/>
              <c:layout>
                <c:manualLayout>
                  <c:x val="-3.0894308943089439E-2"/>
                  <c:y val="-3.998000370208538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1.6260162601626032E-2"/>
                  <c:y val="-3.598200333187680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4.0650534536841434E-2"/>
                  <c:y val="-5.197400481271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3.4146341463414637E-2"/>
                  <c:y val="-3.998000370208538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4.8780487804878049E-3"/>
                  <c:y val="3.198400296166830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8.130081300813009E-3"/>
                  <c:y val="-7.996000740417076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8.130081300813009E-3"/>
                  <c:y val="2.39880022212512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-2.2764227642276424E-2"/>
                  <c:y val="-4.797600444250246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-4.5528455284552849E-2"/>
                  <c:y val="4.397800407229392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>
                <c:manualLayout>
                  <c:x val="-1.7886178861788678E-2"/>
                  <c:y val="-5.197400481271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0"/>
              <c:layout>
                <c:manualLayout>
                  <c:x val="-4.8780487804878647E-3"/>
                  <c:y val="4.397800407229392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1"/>
              <c:layout>
                <c:manualLayout>
                  <c:x val="-3.0894308943089432E-2"/>
                  <c:y val="-5.197400481271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val>
            <c:numRef>
              <c:f>Лист1!$C$197:$C$208</c:f>
              <c:numCache>
                <c:formatCode>General</c:formatCode>
                <c:ptCount val="12"/>
                <c:pt idx="0">
                  <c:v>42.6</c:v>
                </c:pt>
                <c:pt idx="1">
                  <c:v>74.599999999999994</c:v>
                </c:pt>
                <c:pt idx="2">
                  <c:v>14.5</c:v>
                </c:pt>
                <c:pt idx="3">
                  <c:v>110.9</c:v>
                </c:pt>
                <c:pt idx="4">
                  <c:v>109</c:v>
                </c:pt>
                <c:pt idx="5">
                  <c:v>128.4</c:v>
                </c:pt>
                <c:pt idx="6">
                  <c:v>73.900000000000006</c:v>
                </c:pt>
                <c:pt idx="7">
                  <c:v>59.3</c:v>
                </c:pt>
                <c:pt idx="8">
                  <c:v>178.5</c:v>
                </c:pt>
                <c:pt idx="9">
                  <c:v>34.200000000000003</c:v>
                </c:pt>
                <c:pt idx="10">
                  <c:v>56.1</c:v>
                </c:pt>
                <c:pt idx="11">
                  <c:v>40.79999999999999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4961792"/>
        <c:axId val="22246912"/>
      </c:lineChart>
      <c:catAx>
        <c:axId val="21655552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 rot="-5400000" vert="horz"/>
          <a:lstStyle/>
          <a:p>
            <a:pPr>
              <a:defRPr b="1"/>
            </a:pPr>
            <a:endParaRPr lang="ru-RU"/>
          </a:p>
        </c:txPr>
        <c:crossAx val="21920384"/>
        <c:crosses val="autoZero"/>
        <c:auto val="1"/>
        <c:lblAlgn val="ctr"/>
        <c:lblOffset val="100"/>
        <c:noMultiLvlLbl val="0"/>
      </c:catAx>
      <c:valAx>
        <c:axId val="21920384"/>
        <c:scaling>
          <c:orientation val="minMax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crossAx val="21655552"/>
        <c:crosses val="autoZero"/>
        <c:crossBetween val="between"/>
      </c:valAx>
      <c:valAx>
        <c:axId val="22246912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crossAx val="24961792"/>
        <c:crosses val="max"/>
        <c:crossBetween val="between"/>
      </c:valAx>
      <c:catAx>
        <c:axId val="24961792"/>
        <c:scaling>
          <c:orientation val="minMax"/>
        </c:scaling>
        <c:delete val="1"/>
        <c:axPos val="b"/>
        <c:majorTickMark val="out"/>
        <c:minorTickMark val="none"/>
        <c:tickLblPos val="nextTo"/>
        <c:crossAx val="22246912"/>
        <c:crosses val="autoZero"/>
        <c:auto val="1"/>
        <c:lblAlgn val="ctr"/>
        <c:lblOffset val="100"/>
        <c:noMultiLvlLbl val="0"/>
      </c:catAx>
    </c:plotArea>
    <c:plotVisOnly val="1"/>
    <c:dispBlanksAs val="gap"/>
    <c:showDLblsOverMax val="0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6418343746635646E-2"/>
          <c:y val="4.4029969822054177E-2"/>
          <c:w val="0.85942920758500896"/>
          <c:h val="0.7961287280963635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Динамика!$B$157</c:f>
              <c:strCache>
                <c:ptCount val="1"/>
                <c:pt idx="0">
                  <c:v>Незанятые</c:v>
                </c:pt>
              </c:strCache>
            </c:strRef>
          </c:tx>
          <c:spPr>
            <a:gradFill rotWithShape="0">
              <a:gsLst>
                <a:gs pos="0">
                  <a:srgbClr val="C0C0FF"/>
                </a:gs>
                <a:gs pos="100000">
                  <a:srgbClr val="C0C0FF">
                    <a:gamma/>
                    <a:tint val="39216"/>
                    <a:invGamma/>
                  </a:srgbClr>
                </a:gs>
              </a:gsLst>
              <a:path path="rect">
                <a:fillToRect r="100000" b="100000"/>
              </a:path>
            </a:gradFill>
            <a:ln w="25400">
              <a:noFill/>
            </a:ln>
          </c:spPr>
          <c:invertIfNegative val="0"/>
          <c:dLbls>
            <c:dLbl>
              <c:idx val="4"/>
              <c:layout>
                <c:manualLayout>
                  <c:x val="1.9304050962694564E-3"/>
                  <c:y val="-1.0658913915421907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050" b="1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Динамика!$A$158:$A$172</c:f>
              <c:numCache>
                <c:formatCode>dd/mm/yyyy</c:formatCode>
                <c:ptCount val="10"/>
                <c:pt idx="0">
                  <c:v>39448</c:v>
                </c:pt>
                <c:pt idx="1">
                  <c:v>39814</c:v>
                </c:pt>
                <c:pt idx="2">
                  <c:v>40179</c:v>
                </c:pt>
                <c:pt idx="3">
                  <c:v>40544</c:v>
                </c:pt>
                <c:pt idx="4">
                  <c:v>40909</c:v>
                </c:pt>
                <c:pt idx="5">
                  <c:v>41275</c:v>
                </c:pt>
                <c:pt idx="6">
                  <c:v>41640</c:v>
                </c:pt>
                <c:pt idx="7">
                  <c:v>42005</c:v>
                </c:pt>
                <c:pt idx="8">
                  <c:v>42370</c:v>
                </c:pt>
                <c:pt idx="9">
                  <c:v>42401</c:v>
                </c:pt>
              </c:numCache>
            </c:numRef>
          </c:cat>
          <c:val>
            <c:numRef>
              <c:f>Динамика!$B$158:$B$172</c:f>
              <c:numCache>
                <c:formatCode>General</c:formatCode>
                <c:ptCount val="10"/>
                <c:pt idx="0">
                  <c:v>38525</c:v>
                </c:pt>
                <c:pt idx="1">
                  <c:v>34205</c:v>
                </c:pt>
                <c:pt idx="2">
                  <c:v>48128</c:v>
                </c:pt>
                <c:pt idx="3">
                  <c:v>37224</c:v>
                </c:pt>
                <c:pt idx="4">
                  <c:v>30390</c:v>
                </c:pt>
                <c:pt idx="5">
                  <c:v>26420</c:v>
                </c:pt>
                <c:pt idx="6">
                  <c:v>24494</c:v>
                </c:pt>
                <c:pt idx="7">
                  <c:v>21495</c:v>
                </c:pt>
                <c:pt idx="8">
                  <c:v>22385</c:v>
                </c:pt>
                <c:pt idx="9">
                  <c:v>23193</c:v>
                </c:pt>
              </c:numCache>
            </c:numRef>
          </c:val>
        </c:ser>
        <c:ser>
          <c:idx val="1"/>
          <c:order val="1"/>
          <c:tx>
            <c:strRef>
              <c:f>Динамика!$C$157</c:f>
              <c:strCache>
                <c:ptCount val="1"/>
                <c:pt idx="0">
                  <c:v>Безработные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1.6220600162206045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0"/>
                  <c:y val="-9.9009900990099497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3.7087148144040812E-3"/>
                  <c:y val="1.2108660114756127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6.4882400648824268E-3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ru-RU" b="1" i="1">
                        <a:solidFill>
                          <a:srgbClr val="C80823"/>
                        </a:solidFill>
                      </a:rPr>
                      <a:t>16120</a:t>
                    </a:r>
                    <a:endParaRPr lang="ru-RU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</c:dLbl>
            <c:dLbl>
              <c:idx val="9"/>
              <c:layout>
                <c:manualLayout>
                  <c:x val="1.2646065227248067E-2"/>
                  <c:y val="1.1359659588006045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 w="25400">
                <a:noFill/>
              </a:ln>
            </c:spPr>
            <c:txPr>
              <a:bodyPr/>
              <a:lstStyle/>
              <a:p>
                <a:pPr>
                  <a:defRPr sz="1000" b="1" i="1" u="none" strike="noStrike" baseline="0">
                    <a:solidFill>
                      <a:srgbClr val="C80823"/>
                    </a:solidFill>
                    <a:latin typeface="Calibri"/>
                    <a:ea typeface="Calibri"/>
                    <a:cs typeface="Calibri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Динамика!$A$158:$A$172</c:f>
              <c:numCache>
                <c:formatCode>dd/mm/yyyy</c:formatCode>
                <c:ptCount val="10"/>
                <c:pt idx="0">
                  <c:v>39448</c:v>
                </c:pt>
                <c:pt idx="1">
                  <c:v>39814</c:v>
                </c:pt>
                <c:pt idx="2">
                  <c:v>40179</c:v>
                </c:pt>
                <c:pt idx="3">
                  <c:v>40544</c:v>
                </c:pt>
                <c:pt idx="4">
                  <c:v>40909</c:v>
                </c:pt>
                <c:pt idx="5">
                  <c:v>41275</c:v>
                </c:pt>
                <c:pt idx="6">
                  <c:v>41640</c:v>
                </c:pt>
                <c:pt idx="7">
                  <c:v>42005</c:v>
                </c:pt>
                <c:pt idx="8">
                  <c:v>42370</c:v>
                </c:pt>
                <c:pt idx="9">
                  <c:v>42401</c:v>
                </c:pt>
              </c:numCache>
            </c:numRef>
          </c:cat>
          <c:val>
            <c:numRef>
              <c:f>Динамика!$C$158:$C$172</c:f>
              <c:numCache>
                <c:formatCode>General</c:formatCode>
                <c:ptCount val="10"/>
                <c:pt idx="0">
                  <c:v>28826</c:v>
                </c:pt>
                <c:pt idx="1">
                  <c:v>24743</c:v>
                </c:pt>
                <c:pt idx="2">
                  <c:v>38179</c:v>
                </c:pt>
                <c:pt idx="3">
                  <c:v>28595</c:v>
                </c:pt>
                <c:pt idx="4">
                  <c:v>23398</c:v>
                </c:pt>
                <c:pt idx="5">
                  <c:v>19678</c:v>
                </c:pt>
                <c:pt idx="6">
                  <c:v>18259</c:v>
                </c:pt>
                <c:pt idx="7">
                  <c:v>16120</c:v>
                </c:pt>
                <c:pt idx="8">
                  <c:v>17540</c:v>
                </c:pt>
                <c:pt idx="9">
                  <c:v>1704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7"/>
        <c:axId val="111061248"/>
        <c:axId val="111083904"/>
      </c:barChart>
      <c:lineChart>
        <c:grouping val="stacked"/>
        <c:varyColors val="0"/>
        <c:ser>
          <c:idx val="2"/>
          <c:order val="2"/>
          <c:tx>
            <c:strRef>
              <c:f>Динамика!$D$157</c:f>
              <c:strCache>
                <c:ptCount val="1"/>
                <c:pt idx="0">
                  <c:v>Вакансии</c:v>
                </c:pt>
              </c:strCache>
            </c:strRef>
          </c:tx>
          <c:spPr>
            <a:ln cap="sq">
              <a:solidFill>
                <a:schemeClr val="accent4">
                  <a:lumMod val="60000"/>
                  <a:lumOff val="40000"/>
                </a:schemeClr>
              </a:solidFill>
              <a:round/>
              <a:headEnd type="none"/>
              <a:tailEnd type="none"/>
            </a:ln>
            <a:effectLst>
              <a:outerShdw blurRad="50800" dist="25400" dir="5400000" sx="96000" sy="96000" algn="ctr" rotWithShape="0">
                <a:srgbClr val="000000">
                  <a:alpha val="52000"/>
                </a:srgbClr>
              </a:outerShdw>
            </a:effectLst>
          </c:spPr>
          <c:marker>
            <c:symbol val="square"/>
            <c:size val="5"/>
            <c:spPr>
              <a:solidFill>
                <a:schemeClr val="accent4">
                  <a:lumMod val="75000"/>
                </a:schemeClr>
              </a:solidFill>
              <a:ln cap="rnd">
                <a:bevel/>
              </a:ln>
              <a:effectLst>
                <a:outerShdw blurRad="50800" dist="25400" dir="5400000" sx="96000" sy="96000" algn="ctr" rotWithShape="0">
                  <a:srgbClr val="000000">
                    <a:alpha val="52000"/>
                  </a:srgbClr>
                </a:outerShdw>
              </a:effectLst>
              <a:scene3d>
                <a:camera prst="orthographicFront"/>
                <a:lightRig rig="threePt" dir="t"/>
              </a:scene3d>
              <a:sp3d prstMaterial="softEdge"/>
            </c:spPr>
          </c:marker>
          <c:cat>
            <c:numRef>
              <c:f>Динамика!$A$158:$A$172</c:f>
              <c:numCache>
                <c:formatCode>dd/mm/yyyy</c:formatCode>
                <c:ptCount val="10"/>
                <c:pt idx="0">
                  <c:v>39448</c:v>
                </c:pt>
                <c:pt idx="1">
                  <c:v>39814</c:v>
                </c:pt>
                <c:pt idx="2">
                  <c:v>40179</c:v>
                </c:pt>
                <c:pt idx="3">
                  <c:v>40544</c:v>
                </c:pt>
                <c:pt idx="4">
                  <c:v>40909</c:v>
                </c:pt>
                <c:pt idx="5">
                  <c:v>41275</c:v>
                </c:pt>
                <c:pt idx="6">
                  <c:v>41640</c:v>
                </c:pt>
                <c:pt idx="7">
                  <c:v>42005</c:v>
                </c:pt>
                <c:pt idx="8">
                  <c:v>42370</c:v>
                </c:pt>
                <c:pt idx="9">
                  <c:v>42401</c:v>
                </c:pt>
              </c:numCache>
            </c:numRef>
          </c:cat>
          <c:val>
            <c:numRef>
              <c:f>Динамика!$D$158:$D$172</c:f>
              <c:numCache>
                <c:formatCode>General</c:formatCode>
                <c:ptCount val="10"/>
                <c:pt idx="0">
                  <c:v>29399</c:v>
                </c:pt>
                <c:pt idx="1">
                  <c:v>24891</c:v>
                </c:pt>
                <c:pt idx="2">
                  <c:v>19963</c:v>
                </c:pt>
                <c:pt idx="3">
                  <c:v>30029</c:v>
                </c:pt>
                <c:pt idx="4">
                  <c:v>32947</c:v>
                </c:pt>
                <c:pt idx="5">
                  <c:v>41209</c:v>
                </c:pt>
                <c:pt idx="6">
                  <c:v>32105</c:v>
                </c:pt>
                <c:pt idx="7">
                  <c:v>57171</c:v>
                </c:pt>
                <c:pt idx="8">
                  <c:v>39952</c:v>
                </c:pt>
                <c:pt idx="9">
                  <c:v>3940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1061248"/>
        <c:axId val="111083904"/>
      </c:lineChart>
      <c:catAx>
        <c:axId val="111061248"/>
        <c:scaling>
          <c:orientation val="minMax"/>
        </c:scaling>
        <c:delete val="0"/>
        <c:axPos val="b"/>
        <c:numFmt formatCode="dd/mm/yyyy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900" b="1" i="1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111083904"/>
        <c:crosses val="autoZero"/>
        <c:auto val="0"/>
        <c:lblAlgn val="ctr"/>
        <c:lblOffset val="100"/>
        <c:noMultiLvlLbl val="0"/>
      </c:catAx>
      <c:valAx>
        <c:axId val="111083904"/>
        <c:scaling>
          <c:orientation val="minMax"/>
          <c:max val="70000"/>
          <c:min val="0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111061248"/>
        <c:crosses val="autoZero"/>
        <c:crossBetween val="between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2512165202322682"/>
          <c:y val="0.91474325169293436"/>
          <c:w val="0.52794553068507022"/>
          <c:h val="8.0256392283309164E-2"/>
        </c:manualLayout>
      </c:layout>
      <c:overlay val="0"/>
      <c:txPr>
        <a:bodyPr/>
        <a:lstStyle/>
        <a:p>
          <a:pPr>
            <a:defRPr sz="1400" b="0" i="0" u="none" strike="noStrike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endParaRPr lang="ru-RU"/>
        </a:p>
      </c:txPr>
    </c:legend>
    <c:plotVisOnly val="1"/>
    <c:dispBlanksAs val="zero"/>
    <c:showDLblsOverMax val="0"/>
  </c:chart>
  <c:spPr>
    <a:ln>
      <a:noFill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3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2547" cy="49625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003" tIns="45502" rIns="91003" bIns="45502" numCol="1" anchor="t" anchorCtr="0" compatLnSpc="1">
            <a:prstTxWarp prst="textNoShape">
              <a:avLst/>
            </a:prstTxWarp>
          </a:bodyPr>
          <a:lstStyle>
            <a:lvl1pPr algn="l" defTabSz="910723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083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5455" y="0"/>
            <a:ext cx="2970946" cy="49625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003" tIns="45502" rIns="91003" bIns="45502" numCol="1" anchor="t" anchorCtr="0" compatLnSpc="1">
            <a:prstTxWarp prst="textNoShape">
              <a:avLst/>
            </a:prstTxWarp>
          </a:bodyPr>
          <a:lstStyle>
            <a:lvl1pPr algn="r" defTabSz="910723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083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49435"/>
            <a:ext cx="2972547" cy="49625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003" tIns="45502" rIns="91003" bIns="45502" numCol="1" anchor="b" anchorCtr="0" compatLnSpc="1">
            <a:prstTxWarp prst="textNoShape">
              <a:avLst/>
            </a:prstTxWarp>
          </a:bodyPr>
          <a:lstStyle>
            <a:lvl1pPr algn="l" defTabSz="910723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083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5455" y="9449435"/>
            <a:ext cx="2970946" cy="49625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003" tIns="45502" rIns="91003" bIns="45502" numCol="1" anchor="b" anchorCtr="0" compatLnSpc="1">
            <a:prstTxWarp prst="textNoShape">
              <a:avLst/>
            </a:prstTxWarp>
          </a:bodyPr>
          <a:lstStyle>
            <a:lvl1pPr algn="r" defTabSz="910723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fld id="{29212938-B8CB-463C-85F4-BB92DD38CA7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196026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102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2547" cy="49625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003" tIns="45502" rIns="91003" bIns="45502" numCol="1" anchor="t" anchorCtr="0" compatLnSpc="1">
            <a:prstTxWarp prst="textNoShape">
              <a:avLst/>
            </a:prstTxWarp>
          </a:bodyPr>
          <a:lstStyle>
            <a:lvl1pPr algn="l" defTabSz="910723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123" name="Rectangle 1027"/>
          <p:cNvSpPr>
            <a:spLocks noGrp="1" noChangeArrowheads="1"/>
          </p:cNvSpPr>
          <p:nvPr>
            <p:ph type="dt" idx="1"/>
          </p:nvPr>
        </p:nvSpPr>
        <p:spPr bwMode="auto">
          <a:xfrm>
            <a:off x="3885455" y="0"/>
            <a:ext cx="2970946" cy="49625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003" tIns="45502" rIns="91003" bIns="45502" numCol="1" anchor="t" anchorCtr="0" compatLnSpc="1">
            <a:prstTxWarp prst="textNoShape">
              <a:avLst/>
            </a:prstTxWarp>
          </a:bodyPr>
          <a:lstStyle>
            <a:lvl1pPr algn="r" defTabSz="910723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67940" name="Rectangle 1028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1125" y="746125"/>
            <a:ext cx="6637338" cy="37338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5" name="Rectangle 1029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7083" y="4728694"/>
            <a:ext cx="5485439" cy="4472615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003" tIns="45502" rIns="91003" bIns="4550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5126" name="Rectangle 1030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49435"/>
            <a:ext cx="2972547" cy="49625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003" tIns="45502" rIns="91003" bIns="45502" numCol="1" anchor="b" anchorCtr="0" compatLnSpc="1">
            <a:prstTxWarp prst="textNoShape">
              <a:avLst/>
            </a:prstTxWarp>
          </a:bodyPr>
          <a:lstStyle>
            <a:lvl1pPr algn="l" defTabSz="910723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127" name="Rectangle 1031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5455" y="9449435"/>
            <a:ext cx="2970946" cy="49625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003" tIns="45502" rIns="91003" bIns="45502" numCol="1" anchor="b" anchorCtr="0" compatLnSpc="1">
            <a:prstTxWarp prst="textNoShape">
              <a:avLst/>
            </a:prstTxWarp>
          </a:bodyPr>
          <a:lstStyle>
            <a:lvl1pPr algn="r" defTabSz="910723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fld id="{EC805CD5-6701-4AD0-8A77-B74A6C7D3BD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1094456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3951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09511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65057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1902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75434" algn="l" defTabSz="91017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30526" algn="l" defTabSz="91017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85605" algn="l" defTabSz="91017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40693" algn="l" defTabSz="91017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962" name="Rectangle 1031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072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6442" indent="-287093" defTabSz="91072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8372" indent="-229674" defTabSz="91072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7721" indent="-229674" defTabSz="91072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67070" indent="-229674" defTabSz="91072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26419" indent="-229674" defTabSz="91072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85767" indent="-229674" defTabSz="91072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45116" indent="-229674" defTabSz="91072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904465" indent="-229674" defTabSz="91072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AEFB3D8E-77CF-498D-9767-073D654451EC}" type="slidenum">
              <a:rPr lang="ru-RU" smtClean="0">
                <a:solidFill>
                  <a:srgbClr val="000000"/>
                </a:solidFill>
              </a:rPr>
              <a:pPr eaLnBrk="1" hangingPunct="1"/>
              <a:t>1</a:t>
            </a:fld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68963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63500" y="350838"/>
            <a:ext cx="7070725" cy="3976687"/>
          </a:xfrm>
          <a:ln/>
        </p:spPr>
      </p:sp>
      <p:sp>
        <p:nvSpPr>
          <p:cNvPr id="168964" name="Заметки 2"/>
          <p:cNvSpPr>
            <a:spLocks noGrp="1"/>
          </p:cNvSpPr>
          <p:nvPr>
            <p:ph type="body" idx="1"/>
          </p:nvPr>
        </p:nvSpPr>
        <p:spPr>
          <a:xfrm>
            <a:off x="730326" y="4521923"/>
            <a:ext cx="5583136" cy="489411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eaLnBrk="1" hangingPunct="1"/>
            <a:endParaRPr lang="ru-RU" dirty="0" smtClean="0">
              <a:latin typeface="Arial" pitchFamily="34" charset="0"/>
            </a:endParaRPr>
          </a:p>
        </p:txBody>
      </p:sp>
      <p:sp>
        <p:nvSpPr>
          <p:cNvPr id="168965" name="Нижний колонтитул 3"/>
          <p:cNvSpPr txBox="1">
            <a:spLocks noGrp="1"/>
          </p:cNvSpPr>
          <p:nvPr/>
        </p:nvSpPr>
        <p:spPr bwMode="auto">
          <a:xfrm>
            <a:off x="4686248" y="46843"/>
            <a:ext cx="1796742" cy="123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ru-RU" sz="800" dirty="0">
                <a:solidFill>
                  <a:srgbClr val="000000"/>
                </a:solidFill>
                <a:cs typeface="Arial" pitchFamily="34" charset="0"/>
              </a:rPr>
              <a:t>MOS-ROS005-200600608-SS1wm-r_c</a:t>
            </a:r>
          </a:p>
        </p:txBody>
      </p:sp>
      <p:sp>
        <p:nvSpPr>
          <p:cNvPr id="168966" name="Номер слайда 4"/>
          <p:cNvSpPr txBox="1">
            <a:spLocks noGrp="1"/>
          </p:cNvSpPr>
          <p:nvPr/>
        </p:nvSpPr>
        <p:spPr bwMode="auto">
          <a:xfrm>
            <a:off x="5972322" y="9479139"/>
            <a:ext cx="544540" cy="1850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FD2ACA83-D4E3-452A-A092-111DB5DC0130}" type="slidenum">
              <a:rPr lang="en-US" sz="1200">
                <a:solidFill>
                  <a:srgbClr val="000000"/>
                </a:solidFill>
                <a:cs typeface="Arial" pitchFamily="34" charset="0"/>
              </a:rPr>
              <a:pPr eaLnBrk="1" hangingPunct="1"/>
              <a:t>1</a:t>
            </a:fld>
            <a:endParaRPr lang="en-US" sz="1200" dirty="0">
              <a:solidFill>
                <a:srgbClr val="000000"/>
              </a:solidFill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58738" y="350838"/>
            <a:ext cx="7067550" cy="3975100"/>
          </a:xfrm>
        </p:spPr>
      </p:sp>
      <p:sp>
        <p:nvSpPr>
          <p:cNvPr id="4099" name="Заметки 2"/>
          <p:cNvSpPr>
            <a:spLocks noGrp="1"/>
          </p:cNvSpPr>
          <p:nvPr>
            <p:ph type="body" idx="1"/>
          </p:nvPr>
        </p:nvSpPr>
        <p:spPr>
          <a:xfrm>
            <a:off x="730326" y="4520333"/>
            <a:ext cx="5583136" cy="489729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dirty="0" smtClean="0">
              <a:latin typeface="Arial" charset="0"/>
            </a:endParaRPr>
          </a:p>
        </p:txBody>
      </p:sp>
      <p:sp>
        <p:nvSpPr>
          <p:cNvPr id="4100" name="Нижний колонтитул 3"/>
          <p:cNvSpPr txBox="1">
            <a:spLocks noGrp="1"/>
          </p:cNvSpPr>
          <p:nvPr/>
        </p:nvSpPr>
        <p:spPr bwMode="auto">
          <a:xfrm>
            <a:off x="4720121" y="46843"/>
            <a:ext cx="1796741" cy="123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/>
            <a:r>
              <a:rPr lang="ru-RU" sz="800">
                <a:latin typeface="Arial" charset="0"/>
                <a:cs typeface="Arial" charset="0"/>
              </a:rPr>
              <a:t>MOS-ROS005-200600608-SS1wm-r_c</a:t>
            </a:r>
          </a:p>
        </p:txBody>
      </p:sp>
      <p:sp>
        <p:nvSpPr>
          <p:cNvPr id="4101" name="Номер слайда 4"/>
          <p:cNvSpPr txBox="1">
            <a:spLocks noGrp="1"/>
          </p:cNvSpPr>
          <p:nvPr/>
        </p:nvSpPr>
        <p:spPr bwMode="auto">
          <a:xfrm>
            <a:off x="5972322" y="9479139"/>
            <a:ext cx="544540" cy="1850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/>
            <a:fld id="{87E85524-01F8-4A0B-9A08-502B053E5A6D}" type="slidenum">
              <a:rPr lang="en-US" sz="1200">
                <a:latin typeface="Arial" charset="0"/>
                <a:cs typeface="Arial" charset="0"/>
              </a:rPr>
              <a:pPr algn="r" eaLnBrk="1" hangingPunct="1"/>
              <a:t>12</a:t>
            </a:fld>
            <a:endParaRPr lang="en-US" sz="120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447992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58738" y="350838"/>
            <a:ext cx="7067550" cy="3975100"/>
          </a:xfrm>
        </p:spPr>
      </p:sp>
      <p:sp>
        <p:nvSpPr>
          <p:cNvPr id="4099" name="Заметки 2"/>
          <p:cNvSpPr>
            <a:spLocks noGrp="1"/>
          </p:cNvSpPr>
          <p:nvPr>
            <p:ph type="body" idx="1"/>
          </p:nvPr>
        </p:nvSpPr>
        <p:spPr>
          <a:xfrm>
            <a:off x="730326" y="4520333"/>
            <a:ext cx="5583136" cy="489729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dirty="0" smtClean="0">
              <a:latin typeface="Arial" charset="0"/>
            </a:endParaRPr>
          </a:p>
        </p:txBody>
      </p:sp>
      <p:sp>
        <p:nvSpPr>
          <p:cNvPr id="4100" name="Нижний колонтитул 3"/>
          <p:cNvSpPr txBox="1">
            <a:spLocks noGrp="1"/>
          </p:cNvSpPr>
          <p:nvPr/>
        </p:nvSpPr>
        <p:spPr bwMode="auto">
          <a:xfrm>
            <a:off x="4720121" y="46843"/>
            <a:ext cx="1796741" cy="123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/>
            <a:r>
              <a:rPr lang="ru-RU" sz="800">
                <a:latin typeface="Arial" charset="0"/>
                <a:cs typeface="Arial" charset="0"/>
              </a:rPr>
              <a:t>MOS-ROS005-200600608-SS1wm-r_c</a:t>
            </a:r>
          </a:p>
        </p:txBody>
      </p:sp>
      <p:sp>
        <p:nvSpPr>
          <p:cNvPr id="4101" name="Номер слайда 4"/>
          <p:cNvSpPr txBox="1">
            <a:spLocks noGrp="1"/>
          </p:cNvSpPr>
          <p:nvPr/>
        </p:nvSpPr>
        <p:spPr bwMode="auto">
          <a:xfrm>
            <a:off x="5972322" y="9479139"/>
            <a:ext cx="544540" cy="1850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/>
            <a:fld id="{87E85524-01F8-4A0B-9A08-502B053E5A6D}" type="slidenum">
              <a:rPr lang="en-US" sz="1200">
                <a:latin typeface="Arial" charset="0"/>
                <a:cs typeface="Arial" charset="0"/>
              </a:rPr>
              <a:pPr algn="r" eaLnBrk="1" hangingPunct="1"/>
              <a:t>14</a:t>
            </a:fld>
            <a:endParaRPr lang="en-US" sz="120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447992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C805CD5-6701-4AD0-8A77-B74A6C7D3BDF}" type="slidenum">
              <a:rPr lang="ru-RU" smtClean="0"/>
              <a:pPr>
                <a:defRPr/>
              </a:pPr>
              <a:t>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4166881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58738" y="350838"/>
            <a:ext cx="7067550" cy="3975100"/>
          </a:xfrm>
        </p:spPr>
      </p:sp>
      <p:sp>
        <p:nvSpPr>
          <p:cNvPr id="4099" name="Заметки 2"/>
          <p:cNvSpPr>
            <a:spLocks noGrp="1"/>
          </p:cNvSpPr>
          <p:nvPr>
            <p:ph type="body" idx="1"/>
          </p:nvPr>
        </p:nvSpPr>
        <p:spPr>
          <a:xfrm>
            <a:off x="730326" y="4520333"/>
            <a:ext cx="5583136" cy="489729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dirty="0" smtClean="0">
              <a:latin typeface="Arial" charset="0"/>
            </a:endParaRPr>
          </a:p>
        </p:txBody>
      </p:sp>
      <p:sp>
        <p:nvSpPr>
          <p:cNvPr id="4100" name="Нижний колонтитул 3"/>
          <p:cNvSpPr txBox="1">
            <a:spLocks noGrp="1"/>
          </p:cNvSpPr>
          <p:nvPr/>
        </p:nvSpPr>
        <p:spPr bwMode="auto">
          <a:xfrm>
            <a:off x="4720121" y="46843"/>
            <a:ext cx="1796741" cy="123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/>
            <a:r>
              <a:rPr lang="ru-RU" sz="800">
                <a:latin typeface="Arial" charset="0"/>
                <a:cs typeface="Arial" charset="0"/>
              </a:rPr>
              <a:t>MOS-ROS005-200600608-SS1wm-r_c</a:t>
            </a:r>
          </a:p>
        </p:txBody>
      </p:sp>
      <p:sp>
        <p:nvSpPr>
          <p:cNvPr id="4101" name="Номер слайда 4"/>
          <p:cNvSpPr txBox="1">
            <a:spLocks noGrp="1"/>
          </p:cNvSpPr>
          <p:nvPr/>
        </p:nvSpPr>
        <p:spPr bwMode="auto">
          <a:xfrm>
            <a:off x="5972322" y="9479139"/>
            <a:ext cx="544540" cy="1850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/>
            <a:fld id="{87E85524-01F8-4A0B-9A08-502B053E5A6D}" type="slidenum">
              <a:rPr lang="en-US" sz="1200">
                <a:latin typeface="Arial" charset="0"/>
                <a:cs typeface="Arial" charset="0"/>
              </a:rPr>
              <a:pPr algn="r" eaLnBrk="1" hangingPunct="1"/>
              <a:t>20</a:t>
            </a:fld>
            <a:endParaRPr lang="en-US" sz="120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44799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58738" y="350838"/>
            <a:ext cx="7067550" cy="3975100"/>
          </a:xfrm>
        </p:spPr>
      </p:sp>
      <p:sp>
        <p:nvSpPr>
          <p:cNvPr id="4099" name="Заметки 2"/>
          <p:cNvSpPr>
            <a:spLocks noGrp="1"/>
          </p:cNvSpPr>
          <p:nvPr>
            <p:ph type="body" idx="1"/>
          </p:nvPr>
        </p:nvSpPr>
        <p:spPr>
          <a:xfrm>
            <a:off x="730326" y="4520333"/>
            <a:ext cx="5583136" cy="489729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dirty="0" smtClean="0">
              <a:latin typeface="Arial" charset="0"/>
            </a:endParaRPr>
          </a:p>
        </p:txBody>
      </p:sp>
      <p:sp>
        <p:nvSpPr>
          <p:cNvPr id="4100" name="Нижний колонтитул 3"/>
          <p:cNvSpPr txBox="1">
            <a:spLocks noGrp="1"/>
          </p:cNvSpPr>
          <p:nvPr/>
        </p:nvSpPr>
        <p:spPr bwMode="auto">
          <a:xfrm>
            <a:off x="4720121" y="46843"/>
            <a:ext cx="1796741" cy="123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/>
            <a:r>
              <a:rPr lang="ru-RU" sz="800" dirty="0">
                <a:latin typeface="Arial" charset="0"/>
                <a:cs typeface="Arial" charset="0"/>
              </a:rPr>
              <a:t>MOS-ROS005-200600608-SS1wm-r_c</a:t>
            </a:r>
          </a:p>
        </p:txBody>
      </p:sp>
      <p:sp>
        <p:nvSpPr>
          <p:cNvPr id="4101" name="Номер слайда 4"/>
          <p:cNvSpPr txBox="1">
            <a:spLocks noGrp="1"/>
          </p:cNvSpPr>
          <p:nvPr/>
        </p:nvSpPr>
        <p:spPr bwMode="auto">
          <a:xfrm>
            <a:off x="5972322" y="9479139"/>
            <a:ext cx="544540" cy="1850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/>
            <a:fld id="{87E85524-01F8-4A0B-9A08-502B053E5A6D}" type="slidenum">
              <a:rPr lang="en-US" sz="1200">
                <a:latin typeface="Arial" charset="0"/>
                <a:cs typeface="Arial" charset="0"/>
              </a:rPr>
              <a:pPr algn="r" eaLnBrk="1" hangingPunct="1"/>
              <a:t>2</a:t>
            </a:fld>
            <a:endParaRPr lang="en-US" sz="1200" dirty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44799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58738" y="350838"/>
            <a:ext cx="7067550" cy="3975100"/>
          </a:xfrm>
        </p:spPr>
      </p:sp>
      <p:sp>
        <p:nvSpPr>
          <p:cNvPr id="4099" name="Заметки 2"/>
          <p:cNvSpPr>
            <a:spLocks noGrp="1"/>
          </p:cNvSpPr>
          <p:nvPr>
            <p:ph type="body" idx="1"/>
          </p:nvPr>
        </p:nvSpPr>
        <p:spPr>
          <a:xfrm>
            <a:off x="730326" y="4520333"/>
            <a:ext cx="5583136" cy="489729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dirty="0" smtClean="0">
              <a:latin typeface="Arial" charset="0"/>
            </a:endParaRPr>
          </a:p>
        </p:txBody>
      </p:sp>
      <p:sp>
        <p:nvSpPr>
          <p:cNvPr id="4100" name="Нижний колонтитул 3"/>
          <p:cNvSpPr txBox="1">
            <a:spLocks noGrp="1"/>
          </p:cNvSpPr>
          <p:nvPr/>
        </p:nvSpPr>
        <p:spPr bwMode="auto">
          <a:xfrm>
            <a:off x="4720121" y="46843"/>
            <a:ext cx="1796741" cy="123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/>
            <a:r>
              <a:rPr lang="ru-RU" sz="800" dirty="0">
                <a:latin typeface="Arial" charset="0"/>
                <a:cs typeface="Arial" charset="0"/>
              </a:rPr>
              <a:t>MOS-ROS005-200600608-SS1wm-r_c</a:t>
            </a:r>
          </a:p>
        </p:txBody>
      </p:sp>
      <p:sp>
        <p:nvSpPr>
          <p:cNvPr id="4101" name="Номер слайда 4"/>
          <p:cNvSpPr txBox="1">
            <a:spLocks noGrp="1"/>
          </p:cNvSpPr>
          <p:nvPr/>
        </p:nvSpPr>
        <p:spPr bwMode="auto">
          <a:xfrm>
            <a:off x="5972322" y="9479139"/>
            <a:ext cx="544540" cy="1850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/>
            <a:fld id="{87E85524-01F8-4A0B-9A08-502B053E5A6D}" type="slidenum">
              <a:rPr lang="en-US" sz="1200">
                <a:latin typeface="Arial" charset="0"/>
                <a:cs typeface="Arial" charset="0"/>
              </a:rPr>
              <a:pPr algn="r" eaLnBrk="1" hangingPunct="1"/>
              <a:t>3</a:t>
            </a:fld>
            <a:endParaRPr lang="en-US" sz="1200" dirty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44799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58738" y="350838"/>
            <a:ext cx="7067550" cy="3975100"/>
          </a:xfrm>
        </p:spPr>
      </p:sp>
      <p:sp>
        <p:nvSpPr>
          <p:cNvPr id="4099" name="Заметки 2"/>
          <p:cNvSpPr>
            <a:spLocks noGrp="1"/>
          </p:cNvSpPr>
          <p:nvPr>
            <p:ph type="body" idx="1"/>
          </p:nvPr>
        </p:nvSpPr>
        <p:spPr>
          <a:xfrm>
            <a:off x="730326" y="4520333"/>
            <a:ext cx="5583136" cy="489729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dirty="0" smtClean="0">
              <a:latin typeface="Arial" charset="0"/>
            </a:endParaRPr>
          </a:p>
        </p:txBody>
      </p:sp>
      <p:sp>
        <p:nvSpPr>
          <p:cNvPr id="4100" name="Нижний колонтитул 3"/>
          <p:cNvSpPr txBox="1">
            <a:spLocks noGrp="1"/>
          </p:cNvSpPr>
          <p:nvPr/>
        </p:nvSpPr>
        <p:spPr bwMode="auto">
          <a:xfrm>
            <a:off x="4720121" y="46843"/>
            <a:ext cx="1796741" cy="123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/>
            <a:r>
              <a:rPr lang="ru-RU" sz="800" dirty="0">
                <a:latin typeface="Arial" charset="0"/>
                <a:cs typeface="Arial" charset="0"/>
              </a:rPr>
              <a:t>MOS-ROS005-200600608-SS1wm-r_c</a:t>
            </a:r>
          </a:p>
        </p:txBody>
      </p:sp>
      <p:sp>
        <p:nvSpPr>
          <p:cNvPr id="4101" name="Номер слайда 4"/>
          <p:cNvSpPr txBox="1">
            <a:spLocks noGrp="1"/>
          </p:cNvSpPr>
          <p:nvPr/>
        </p:nvSpPr>
        <p:spPr bwMode="auto">
          <a:xfrm>
            <a:off x="5972322" y="9479139"/>
            <a:ext cx="544540" cy="1850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/>
            <a:fld id="{87E85524-01F8-4A0B-9A08-502B053E5A6D}" type="slidenum">
              <a:rPr lang="en-US" sz="1200">
                <a:latin typeface="Arial" charset="0"/>
                <a:cs typeface="Arial" charset="0"/>
              </a:rPr>
              <a:pPr algn="r" eaLnBrk="1" hangingPunct="1"/>
              <a:t>4</a:t>
            </a:fld>
            <a:endParaRPr lang="en-US" sz="1200" dirty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44799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58738" y="350838"/>
            <a:ext cx="7067550" cy="3975100"/>
          </a:xfrm>
        </p:spPr>
      </p:sp>
      <p:sp>
        <p:nvSpPr>
          <p:cNvPr id="4099" name="Заметки 2"/>
          <p:cNvSpPr>
            <a:spLocks noGrp="1"/>
          </p:cNvSpPr>
          <p:nvPr>
            <p:ph type="body" idx="1"/>
          </p:nvPr>
        </p:nvSpPr>
        <p:spPr>
          <a:xfrm>
            <a:off x="730326" y="4520333"/>
            <a:ext cx="5583136" cy="489729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dirty="0" smtClean="0">
              <a:latin typeface="Arial" charset="0"/>
            </a:endParaRPr>
          </a:p>
        </p:txBody>
      </p:sp>
      <p:sp>
        <p:nvSpPr>
          <p:cNvPr id="4100" name="Нижний колонтитул 3"/>
          <p:cNvSpPr txBox="1">
            <a:spLocks noGrp="1"/>
          </p:cNvSpPr>
          <p:nvPr/>
        </p:nvSpPr>
        <p:spPr bwMode="auto">
          <a:xfrm>
            <a:off x="4720121" y="46843"/>
            <a:ext cx="1796741" cy="123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/>
            <a:r>
              <a:rPr lang="ru-RU" sz="800" dirty="0">
                <a:latin typeface="Arial" charset="0"/>
                <a:cs typeface="Arial" charset="0"/>
              </a:rPr>
              <a:t>MOS-ROS005-200600608-SS1wm-r_c</a:t>
            </a:r>
          </a:p>
        </p:txBody>
      </p:sp>
      <p:sp>
        <p:nvSpPr>
          <p:cNvPr id="4101" name="Номер слайда 4"/>
          <p:cNvSpPr txBox="1">
            <a:spLocks noGrp="1"/>
          </p:cNvSpPr>
          <p:nvPr/>
        </p:nvSpPr>
        <p:spPr bwMode="auto">
          <a:xfrm>
            <a:off x="5972322" y="9479139"/>
            <a:ext cx="544540" cy="1850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/>
            <a:fld id="{87E85524-01F8-4A0B-9A08-502B053E5A6D}" type="slidenum">
              <a:rPr lang="en-US" sz="1200">
                <a:latin typeface="Arial" charset="0"/>
                <a:cs typeface="Arial" charset="0"/>
              </a:rPr>
              <a:pPr algn="r" eaLnBrk="1" hangingPunct="1"/>
              <a:t>5</a:t>
            </a:fld>
            <a:endParaRPr lang="en-US" sz="1200" dirty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447992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58738" y="350838"/>
            <a:ext cx="7067550" cy="3975100"/>
          </a:xfrm>
        </p:spPr>
      </p:sp>
      <p:sp>
        <p:nvSpPr>
          <p:cNvPr id="4099" name="Заметки 2"/>
          <p:cNvSpPr>
            <a:spLocks noGrp="1"/>
          </p:cNvSpPr>
          <p:nvPr>
            <p:ph type="body" idx="1"/>
          </p:nvPr>
        </p:nvSpPr>
        <p:spPr>
          <a:xfrm>
            <a:off x="730326" y="4520333"/>
            <a:ext cx="5583136" cy="489729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dirty="0" smtClean="0">
              <a:latin typeface="Arial" charset="0"/>
            </a:endParaRPr>
          </a:p>
        </p:txBody>
      </p:sp>
      <p:sp>
        <p:nvSpPr>
          <p:cNvPr id="4100" name="Нижний колонтитул 3"/>
          <p:cNvSpPr txBox="1">
            <a:spLocks noGrp="1"/>
          </p:cNvSpPr>
          <p:nvPr/>
        </p:nvSpPr>
        <p:spPr bwMode="auto">
          <a:xfrm>
            <a:off x="4720121" y="46843"/>
            <a:ext cx="1796741" cy="123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/>
            <a:r>
              <a:rPr lang="ru-RU" sz="800" dirty="0">
                <a:latin typeface="Arial" charset="0"/>
                <a:cs typeface="Arial" charset="0"/>
              </a:rPr>
              <a:t>MOS-ROS005-200600608-SS1wm-r_c</a:t>
            </a:r>
          </a:p>
        </p:txBody>
      </p:sp>
      <p:sp>
        <p:nvSpPr>
          <p:cNvPr id="4101" name="Номер слайда 4"/>
          <p:cNvSpPr txBox="1">
            <a:spLocks noGrp="1"/>
          </p:cNvSpPr>
          <p:nvPr/>
        </p:nvSpPr>
        <p:spPr bwMode="auto">
          <a:xfrm>
            <a:off x="5972322" y="9479139"/>
            <a:ext cx="544540" cy="1850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/>
            <a:fld id="{87E85524-01F8-4A0B-9A08-502B053E5A6D}" type="slidenum">
              <a:rPr lang="en-US" sz="1200">
                <a:latin typeface="Arial" charset="0"/>
                <a:cs typeface="Arial" charset="0"/>
              </a:rPr>
              <a:pPr algn="r" eaLnBrk="1" hangingPunct="1"/>
              <a:t>6</a:t>
            </a:fld>
            <a:endParaRPr lang="en-US" sz="1200" dirty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44799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58738" y="350838"/>
            <a:ext cx="7067550" cy="3975100"/>
          </a:xfrm>
        </p:spPr>
      </p:sp>
      <p:sp>
        <p:nvSpPr>
          <p:cNvPr id="4099" name="Заметки 2"/>
          <p:cNvSpPr>
            <a:spLocks noGrp="1"/>
          </p:cNvSpPr>
          <p:nvPr>
            <p:ph type="body" idx="1"/>
          </p:nvPr>
        </p:nvSpPr>
        <p:spPr>
          <a:xfrm>
            <a:off x="730326" y="4520333"/>
            <a:ext cx="5583136" cy="489729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dirty="0" smtClean="0">
              <a:latin typeface="Arial" charset="0"/>
            </a:endParaRPr>
          </a:p>
        </p:txBody>
      </p:sp>
      <p:sp>
        <p:nvSpPr>
          <p:cNvPr id="4100" name="Нижний колонтитул 3"/>
          <p:cNvSpPr txBox="1">
            <a:spLocks noGrp="1"/>
          </p:cNvSpPr>
          <p:nvPr/>
        </p:nvSpPr>
        <p:spPr bwMode="auto">
          <a:xfrm>
            <a:off x="4720121" y="46843"/>
            <a:ext cx="1796741" cy="123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/>
            <a:r>
              <a:rPr lang="ru-RU" sz="800" dirty="0">
                <a:latin typeface="Arial" charset="0"/>
                <a:cs typeface="Arial" charset="0"/>
              </a:rPr>
              <a:t>MOS-ROS005-200600608-SS1wm-r_c</a:t>
            </a:r>
          </a:p>
        </p:txBody>
      </p:sp>
      <p:sp>
        <p:nvSpPr>
          <p:cNvPr id="4101" name="Номер слайда 4"/>
          <p:cNvSpPr txBox="1">
            <a:spLocks noGrp="1"/>
          </p:cNvSpPr>
          <p:nvPr/>
        </p:nvSpPr>
        <p:spPr bwMode="auto">
          <a:xfrm>
            <a:off x="5972322" y="9479139"/>
            <a:ext cx="544540" cy="1850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/>
            <a:fld id="{87E85524-01F8-4A0B-9A08-502B053E5A6D}" type="slidenum">
              <a:rPr lang="en-US" sz="1200">
                <a:latin typeface="Arial" charset="0"/>
                <a:cs typeface="Arial" charset="0"/>
              </a:rPr>
              <a:pPr algn="r" eaLnBrk="1" hangingPunct="1"/>
              <a:t>7</a:t>
            </a:fld>
            <a:endParaRPr lang="en-US" sz="1200" dirty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44799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58738" y="350838"/>
            <a:ext cx="7067550" cy="3975100"/>
          </a:xfrm>
        </p:spPr>
      </p:sp>
      <p:sp>
        <p:nvSpPr>
          <p:cNvPr id="4099" name="Заметки 2"/>
          <p:cNvSpPr>
            <a:spLocks noGrp="1"/>
          </p:cNvSpPr>
          <p:nvPr>
            <p:ph type="body" idx="1"/>
          </p:nvPr>
        </p:nvSpPr>
        <p:spPr>
          <a:xfrm>
            <a:off x="730326" y="4520333"/>
            <a:ext cx="5583136" cy="489729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dirty="0" smtClean="0">
              <a:latin typeface="Arial" charset="0"/>
            </a:endParaRPr>
          </a:p>
        </p:txBody>
      </p:sp>
      <p:sp>
        <p:nvSpPr>
          <p:cNvPr id="4100" name="Нижний колонтитул 3"/>
          <p:cNvSpPr txBox="1">
            <a:spLocks noGrp="1"/>
          </p:cNvSpPr>
          <p:nvPr/>
        </p:nvSpPr>
        <p:spPr bwMode="auto">
          <a:xfrm>
            <a:off x="4720121" y="46843"/>
            <a:ext cx="1796741" cy="123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/>
            <a:r>
              <a:rPr lang="ru-RU" sz="800">
                <a:latin typeface="Arial" charset="0"/>
                <a:cs typeface="Arial" charset="0"/>
              </a:rPr>
              <a:t>MOS-ROS005-200600608-SS1wm-r_c</a:t>
            </a:r>
          </a:p>
        </p:txBody>
      </p:sp>
      <p:sp>
        <p:nvSpPr>
          <p:cNvPr id="4101" name="Номер слайда 4"/>
          <p:cNvSpPr txBox="1">
            <a:spLocks noGrp="1"/>
          </p:cNvSpPr>
          <p:nvPr/>
        </p:nvSpPr>
        <p:spPr bwMode="auto">
          <a:xfrm>
            <a:off x="5972322" y="9479139"/>
            <a:ext cx="544540" cy="1850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/>
            <a:fld id="{87E85524-01F8-4A0B-9A08-502B053E5A6D}" type="slidenum">
              <a:rPr lang="en-US" sz="1200">
                <a:latin typeface="Arial" charset="0"/>
                <a:cs typeface="Arial" charset="0"/>
              </a:rPr>
              <a:pPr algn="r" eaLnBrk="1" hangingPunct="1"/>
              <a:t>9</a:t>
            </a:fld>
            <a:endParaRPr lang="en-US" sz="120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447992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58738" y="350838"/>
            <a:ext cx="7067550" cy="3975100"/>
          </a:xfrm>
        </p:spPr>
      </p:sp>
      <p:sp>
        <p:nvSpPr>
          <p:cNvPr id="4099" name="Заметки 2"/>
          <p:cNvSpPr>
            <a:spLocks noGrp="1"/>
          </p:cNvSpPr>
          <p:nvPr>
            <p:ph type="body" idx="1"/>
          </p:nvPr>
        </p:nvSpPr>
        <p:spPr>
          <a:xfrm>
            <a:off x="730326" y="4520333"/>
            <a:ext cx="5583136" cy="489729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dirty="0" smtClean="0">
              <a:latin typeface="Arial" charset="0"/>
            </a:endParaRPr>
          </a:p>
        </p:txBody>
      </p:sp>
      <p:sp>
        <p:nvSpPr>
          <p:cNvPr id="4100" name="Нижний колонтитул 3"/>
          <p:cNvSpPr txBox="1">
            <a:spLocks noGrp="1"/>
          </p:cNvSpPr>
          <p:nvPr/>
        </p:nvSpPr>
        <p:spPr bwMode="auto">
          <a:xfrm>
            <a:off x="4720121" y="46843"/>
            <a:ext cx="1796741" cy="123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/>
            <a:r>
              <a:rPr lang="ru-RU" sz="800">
                <a:latin typeface="Arial" charset="0"/>
                <a:cs typeface="Arial" charset="0"/>
              </a:rPr>
              <a:t>MOS-ROS005-200600608-SS1wm-r_c</a:t>
            </a:r>
          </a:p>
        </p:txBody>
      </p:sp>
      <p:sp>
        <p:nvSpPr>
          <p:cNvPr id="4101" name="Номер слайда 4"/>
          <p:cNvSpPr txBox="1">
            <a:spLocks noGrp="1"/>
          </p:cNvSpPr>
          <p:nvPr/>
        </p:nvSpPr>
        <p:spPr bwMode="auto">
          <a:xfrm>
            <a:off x="5972322" y="9479139"/>
            <a:ext cx="544540" cy="1850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/>
            <a:fld id="{87E85524-01F8-4A0B-9A08-502B053E5A6D}" type="slidenum">
              <a:rPr lang="en-US" sz="1200">
                <a:latin typeface="Arial" charset="0"/>
                <a:cs typeface="Arial" charset="0"/>
              </a:rPr>
              <a:pPr algn="r" eaLnBrk="1" hangingPunct="1"/>
              <a:t>11</a:t>
            </a:fld>
            <a:endParaRPr lang="en-US" sz="120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44799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oleObject" Target="../embeddings/oleObject2.bin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2.vml"/><Relationship Id="rId6" Type="http://schemas.openxmlformats.org/officeDocument/2006/relationships/tags" Target="../tags/tag18.xml"/><Relationship Id="rId11" Type="http://schemas.openxmlformats.org/officeDocument/2006/relationships/tags" Target="../tags/tag23.xml"/><Relationship Id="rId5" Type="http://schemas.openxmlformats.org/officeDocument/2006/relationships/tags" Target="../tags/tag17.xml"/><Relationship Id="rId10" Type="http://schemas.openxmlformats.org/officeDocument/2006/relationships/tags" Target="../tags/tag22.xml"/><Relationship Id="rId4" Type="http://schemas.openxmlformats.org/officeDocument/2006/relationships/tags" Target="../tags/tag16.xml"/><Relationship Id="rId9" Type="http://schemas.openxmlformats.org/officeDocument/2006/relationships/tags" Target="../tags/tag2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10.xml"/><Relationship Id="rId13" Type="http://schemas.openxmlformats.org/officeDocument/2006/relationships/oleObject" Target="../embeddings/oleObject11.bin"/><Relationship Id="rId3" Type="http://schemas.openxmlformats.org/officeDocument/2006/relationships/tags" Target="../tags/tag105.xml"/><Relationship Id="rId7" Type="http://schemas.openxmlformats.org/officeDocument/2006/relationships/tags" Target="../tags/tag109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11.vml"/><Relationship Id="rId6" Type="http://schemas.openxmlformats.org/officeDocument/2006/relationships/tags" Target="../tags/tag108.xml"/><Relationship Id="rId11" Type="http://schemas.openxmlformats.org/officeDocument/2006/relationships/tags" Target="../tags/tag113.xml"/><Relationship Id="rId5" Type="http://schemas.openxmlformats.org/officeDocument/2006/relationships/tags" Target="../tags/tag107.xml"/><Relationship Id="rId10" Type="http://schemas.openxmlformats.org/officeDocument/2006/relationships/tags" Target="../tags/tag112.xml"/><Relationship Id="rId4" Type="http://schemas.openxmlformats.org/officeDocument/2006/relationships/tags" Target="../tags/tag106.xml"/><Relationship Id="rId9" Type="http://schemas.openxmlformats.org/officeDocument/2006/relationships/tags" Target="../tags/tag11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20.xml"/><Relationship Id="rId13" Type="http://schemas.openxmlformats.org/officeDocument/2006/relationships/oleObject" Target="../embeddings/oleObject12.bin"/><Relationship Id="rId3" Type="http://schemas.openxmlformats.org/officeDocument/2006/relationships/tags" Target="../tags/tag115.xml"/><Relationship Id="rId7" Type="http://schemas.openxmlformats.org/officeDocument/2006/relationships/tags" Target="../tags/tag119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18.xml"/><Relationship Id="rId11" Type="http://schemas.openxmlformats.org/officeDocument/2006/relationships/tags" Target="../tags/tag123.xml"/><Relationship Id="rId5" Type="http://schemas.openxmlformats.org/officeDocument/2006/relationships/tags" Target="../tags/tag117.xml"/><Relationship Id="rId10" Type="http://schemas.openxmlformats.org/officeDocument/2006/relationships/tags" Target="../tags/tag122.xml"/><Relationship Id="rId4" Type="http://schemas.openxmlformats.org/officeDocument/2006/relationships/tags" Target="../tags/tag116.xml"/><Relationship Id="rId9" Type="http://schemas.openxmlformats.org/officeDocument/2006/relationships/tags" Target="../tags/tag12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30.xml"/><Relationship Id="rId13" Type="http://schemas.openxmlformats.org/officeDocument/2006/relationships/oleObject" Target="../embeddings/oleObject13.bin"/><Relationship Id="rId3" Type="http://schemas.openxmlformats.org/officeDocument/2006/relationships/tags" Target="../tags/tag125.xml"/><Relationship Id="rId7" Type="http://schemas.openxmlformats.org/officeDocument/2006/relationships/tags" Target="../tags/tag129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28.xml"/><Relationship Id="rId11" Type="http://schemas.openxmlformats.org/officeDocument/2006/relationships/tags" Target="../tags/tag133.xml"/><Relationship Id="rId5" Type="http://schemas.openxmlformats.org/officeDocument/2006/relationships/tags" Target="../tags/tag127.xml"/><Relationship Id="rId10" Type="http://schemas.openxmlformats.org/officeDocument/2006/relationships/tags" Target="../tags/tag132.xml"/><Relationship Id="rId4" Type="http://schemas.openxmlformats.org/officeDocument/2006/relationships/tags" Target="../tags/tag126.xml"/><Relationship Id="rId9" Type="http://schemas.openxmlformats.org/officeDocument/2006/relationships/tags" Target="../tags/tag13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40.xml"/><Relationship Id="rId13" Type="http://schemas.openxmlformats.org/officeDocument/2006/relationships/oleObject" Target="../embeddings/oleObject14.bin"/><Relationship Id="rId3" Type="http://schemas.openxmlformats.org/officeDocument/2006/relationships/tags" Target="../tags/tag135.xml"/><Relationship Id="rId7" Type="http://schemas.openxmlformats.org/officeDocument/2006/relationships/tags" Target="../tags/tag139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38.xml"/><Relationship Id="rId11" Type="http://schemas.openxmlformats.org/officeDocument/2006/relationships/tags" Target="../tags/tag143.xml"/><Relationship Id="rId5" Type="http://schemas.openxmlformats.org/officeDocument/2006/relationships/tags" Target="../tags/tag137.xml"/><Relationship Id="rId10" Type="http://schemas.openxmlformats.org/officeDocument/2006/relationships/tags" Target="../tags/tag142.xml"/><Relationship Id="rId4" Type="http://schemas.openxmlformats.org/officeDocument/2006/relationships/tags" Target="../tags/tag136.xml"/><Relationship Id="rId9" Type="http://schemas.openxmlformats.org/officeDocument/2006/relationships/tags" Target="../tags/tag14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7.xml"/><Relationship Id="rId1" Type="http://schemas.openxmlformats.org/officeDocument/2006/relationships/tags" Target="../tags/tag156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9.xml"/><Relationship Id="rId1" Type="http://schemas.openxmlformats.org/officeDocument/2006/relationships/tags" Target="../tags/tag158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1.xml"/><Relationship Id="rId1" Type="http://schemas.openxmlformats.org/officeDocument/2006/relationships/tags" Target="../tags/tag160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3.xml"/><Relationship Id="rId1" Type="http://schemas.openxmlformats.org/officeDocument/2006/relationships/tags" Target="../tags/tag16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5.xml"/><Relationship Id="rId1" Type="http://schemas.openxmlformats.org/officeDocument/2006/relationships/tags" Target="../tags/tag16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7.xml"/><Relationship Id="rId1" Type="http://schemas.openxmlformats.org/officeDocument/2006/relationships/tags" Target="../tags/tag166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oleObject" Target="../embeddings/oleObject3.bin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3.vml"/><Relationship Id="rId6" Type="http://schemas.openxmlformats.org/officeDocument/2006/relationships/tags" Target="../tags/tag28.xml"/><Relationship Id="rId11" Type="http://schemas.openxmlformats.org/officeDocument/2006/relationships/tags" Target="../tags/tag33.xml"/><Relationship Id="rId5" Type="http://schemas.openxmlformats.org/officeDocument/2006/relationships/tags" Target="../tags/tag27.xml"/><Relationship Id="rId10" Type="http://schemas.openxmlformats.org/officeDocument/2006/relationships/tags" Target="../tags/tag32.xml"/><Relationship Id="rId4" Type="http://schemas.openxmlformats.org/officeDocument/2006/relationships/tags" Target="../tags/tag26.xml"/><Relationship Id="rId9" Type="http://schemas.openxmlformats.org/officeDocument/2006/relationships/tags" Target="../tags/tag3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9.xml"/><Relationship Id="rId1" Type="http://schemas.openxmlformats.org/officeDocument/2006/relationships/tags" Target="../tags/tag168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1.xml"/><Relationship Id="rId1" Type="http://schemas.openxmlformats.org/officeDocument/2006/relationships/tags" Target="../tags/tag170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3.xml"/><Relationship Id="rId1" Type="http://schemas.openxmlformats.org/officeDocument/2006/relationships/tags" Target="../tags/tag17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5.xml"/><Relationship Id="rId1" Type="http://schemas.openxmlformats.org/officeDocument/2006/relationships/tags" Target="../tags/tag17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7.xml"/><Relationship Id="rId1" Type="http://schemas.openxmlformats.org/officeDocument/2006/relationships/tags" Target="../tags/tag176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184.xml"/><Relationship Id="rId3" Type="http://schemas.openxmlformats.org/officeDocument/2006/relationships/tags" Target="../tags/tag179.xml"/><Relationship Id="rId7" Type="http://schemas.openxmlformats.org/officeDocument/2006/relationships/tags" Target="../tags/tag183.xml"/><Relationship Id="rId2" Type="http://schemas.openxmlformats.org/officeDocument/2006/relationships/tags" Target="../tags/tag178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82.xml"/><Relationship Id="rId11" Type="http://schemas.openxmlformats.org/officeDocument/2006/relationships/oleObject" Target="../embeddings/oleObject16.bin"/><Relationship Id="rId5" Type="http://schemas.openxmlformats.org/officeDocument/2006/relationships/tags" Target="../tags/tag181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80.xml"/><Relationship Id="rId9" Type="http://schemas.openxmlformats.org/officeDocument/2006/relationships/tags" Target="../tags/tag18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7.xml"/><Relationship Id="rId1" Type="http://schemas.openxmlformats.org/officeDocument/2006/relationships/tags" Target="../tags/tag18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13" Type="http://schemas.openxmlformats.org/officeDocument/2006/relationships/oleObject" Target="../embeddings/oleObject4.bin"/><Relationship Id="rId3" Type="http://schemas.openxmlformats.org/officeDocument/2006/relationships/tags" Target="../tags/tag35.xml"/><Relationship Id="rId7" Type="http://schemas.openxmlformats.org/officeDocument/2006/relationships/tags" Target="../tags/tag39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4.vml"/><Relationship Id="rId6" Type="http://schemas.openxmlformats.org/officeDocument/2006/relationships/tags" Target="../tags/tag38.xml"/><Relationship Id="rId11" Type="http://schemas.openxmlformats.org/officeDocument/2006/relationships/tags" Target="../tags/tag43.xml"/><Relationship Id="rId5" Type="http://schemas.openxmlformats.org/officeDocument/2006/relationships/tags" Target="../tags/tag37.xml"/><Relationship Id="rId10" Type="http://schemas.openxmlformats.org/officeDocument/2006/relationships/tags" Target="../tags/tag42.xml"/><Relationship Id="rId4" Type="http://schemas.openxmlformats.org/officeDocument/2006/relationships/tags" Target="../tags/tag36.xml"/><Relationship Id="rId9" Type="http://schemas.openxmlformats.org/officeDocument/2006/relationships/tags" Target="../tags/tag4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50.xml"/><Relationship Id="rId13" Type="http://schemas.openxmlformats.org/officeDocument/2006/relationships/oleObject" Target="../embeddings/oleObject5.bin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vmlDrawing" Target="../drawings/vmlDrawing5.vml"/><Relationship Id="rId6" Type="http://schemas.openxmlformats.org/officeDocument/2006/relationships/tags" Target="../tags/tag48.xml"/><Relationship Id="rId11" Type="http://schemas.openxmlformats.org/officeDocument/2006/relationships/tags" Target="../tags/tag53.xml"/><Relationship Id="rId5" Type="http://schemas.openxmlformats.org/officeDocument/2006/relationships/tags" Target="../tags/tag47.xml"/><Relationship Id="rId10" Type="http://schemas.openxmlformats.org/officeDocument/2006/relationships/tags" Target="../tags/tag52.xml"/><Relationship Id="rId4" Type="http://schemas.openxmlformats.org/officeDocument/2006/relationships/tags" Target="../tags/tag46.xml"/><Relationship Id="rId9" Type="http://schemas.openxmlformats.org/officeDocument/2006/relationships/tags" Target="../tags/tag5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13" Type="http://schemas.openxmlformats.org/officeDocument/2006/relationships/oleObject" Target="../embeddings/oleObject6.bin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54.xml"/><Relationship Id="rId1" Type="http://schemas.openxmlformats.org/officeDocument/2006/relationships/vmlDrawing" Target="../drawings/vmlDrawing6.vml"/><Relationship Id="rId6" Type="http://schemas.openxmlformats.org/officeDocument/2006/relationships/tags" Target="../tags/tag58.xml"/><Relationship Id="rId11" Type="http://schemas.openxmlformats.org/officeDocument/2006/relationships/tags" Target="../tags/tag63.xml"/><Relationship Id="rId5" Type="http://schemas.openxmlformats.org/officeDocument/2006/relationships/tags" Target="../tags/tag57.xml"/><Relationship Id="rId10" Type="http://schemas.openxmlformats.org/officeDocument/2006/relationships/tags" Target="../tags/tag62.xml"/><Relationship Id="rId4" Type="http://schemas.openxmlformats.org/officeDocument/2006/relationships/tags" Target="../tags/tag56.xml"/><Relationship Id="rId9" Type="http://schemas.openxmlformats.org/officeDocument/2006/relationships/tags" Target="../tags/tag6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70.xml"/><Relationship Id="rId13" Type="http://schemas.openxmlformats.org/officeDocument/2006/relationships/oleObject" Target="../embeddings/oleObject7.bin"/><Relationship Id="rId3" Type="http://schemas.openxmlformats.org/officeDocument/2006/relationships/tags" Target="../tags/tag65.xml"/><Relationship Id="rId7" Type="http://schemas.openxmlformats.org/officeDocument/2006/relationships/tags" Target="../tags/tag69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64.xml"/><Relationship Id="rId1" Type="http://schemas.openxmlformats.org/officeDocument/2006/relationships/vmlDrawing" Target="../drawings/vmlDrawing7.vml"/><Relationship Id="rId6" Type="http://schemas.openxmlformats.org/officeDocument/2006/relationships/tags" Target="../tags/tag68.xml"/><Relationship Id="rId11" Type="http://schemas.openxmlformats.org/officeDocument/2006/relationships/tags" Target="../tags/tag73.xml"/><Relationship Id="rId5" Type="http://schemas.openxmlformats.org/officeDocument/2006/relationships/tags" Target="../tags/tag67.xml"/><Relationship Id="rId10" Type="http://schemas.openxmlformats.org/officeDocument/2006/relationships/tags" Target="../tags/tag72.xml"/><Relationship Id="rId4" Type="http://schemas.openxmlformats.org/officeDocument/2006/relationships/tags" Target="../tags/tag66.xml"/><Relationship Id="rId9" Type="http://schemas.openxmlformats.org/officeDocument/2006/relationships/tags" Target="../tags/tag7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13" Type="http://schemas.openxmlformats.org/officeDocument/2006/relationships/oleObject" Target="../embeddings/oleObject8.bin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74.xml"/><Relationship Id="rId1" Type="http://schemas.openxmlformats.org/officeDocument/2006/relationships/vmlDrawing" Target="../drawings/vmlDrawing8.vml"/><Relationship Id="rId6" Type="http://schemas.openxmlformats.org/officeDocument/2006/relationships/tags" Target="../tags/tag78.xml"/><Relationship Id="rId11" Type="http://schemas.openxmlformats.org/officeDocument/2006/relationships/tags" Target="../tags/tag83.xml"/><Relationship Id="rId5" Type="http://schemas.openxmlformats.org/officeDocument/2006/relationships/tags" Target="../tags/tag77.xml"/><Relationship Id="rId10" Type="http://schemas.openxmlformats.org/officeDocument/2006/relationships/tags" Target="../tags/tag82.xml"/><Relationship Id="rId4" Type="http://schemas.openxmlformats.org/officeDocument/2006/relationships/tags" Target="../tags/tag76.xml"/><Relationship Id="rId9" Type="http://schemas.openxmlformats.org/officeDocument/2006/relationships/tags" Target="../tags/tag8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90.xml"/><Relationship Id="rId13" Type="http://schemas.openxmlformats.org/officeDocument/2006/relationships/oleObject" Target="../embeddings/oleObject9.bin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84.xml"/><Relationship Id="rId1" Type="http://schemas.openxmlformats.org/officeDocument/2006/relationships/vmlDrawing" Target="../drawings/vmlDrawing9.vml"/><Relationship Id="rId6" Type="http://schemas.openxmlformats.org/officeDocument/2006/relationships/tags" Target="../tags/tag88.xml"/><Relationship Id="rId11" Type="http://schemas.openxmlformats.org/officeDocument/2006/relationships/tags" Target="../tags/tag93.xml"/><Relationship Id="rId5" Type="http://schemas.openxmlformats.org/officeDocument/2006/relationships/tags" Target="../tags/tag87.xml"/><Relationship Id="rId10" Type="http://schemas.openxmlformats.org/officeDocument/2006/relationships/tags" Target="../tags/tag92.xml"/><Relationship Id="rId4" Type="http://schemas.openxmlformats.org/officeDocument/2006/relationships/tags" Target="../tags/tag86.xml"/><Relationship Id="rId9" Type="http://schemas.openxmlformats.org/officeDocument/2006/relationships/tags" Target="../tags/tag9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100.xml"/><Relationship Id="rId13" Type="http://schemas.openxmlformats.org/officeDocument/2006/relationships/oleObject" Target="../embeddings/oleObject10.bin"/><Relationship Id="rId3" Type="http://schemas.openxmlformats.org/officeDocument/2006/relationships/tags" Target="../tags/tag95.xml"/><Relationship Id="rId7" Type="http://schemas.openxmlformats.org/officeDocument/2006/relationships/tags" Target="../tags/tag99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94.xml"/><Relationship Id="rId1" Type="http://schemas.openxmlformats.org/officeDocument/2006/relationships/vmlDrawing" Target="../drawings/vmlDrawing10.vml"/><Relationship Id="rId6" Type="http://schemas.openxmlformats.org/officeDocument/2006/relationships/tags" Target="../tags/tag98.xml"/><Relationship Id="rId11" Type="http://schemas.openxmlformats.org/officeDocument/2006/relationships/tags" Target="../tags/tag103.xml"/><Relationship Id="rId5" Type="http://schemas.openxmlformats.org/officeDocument/2006/relationships/tags" Target="../tags/tag97.xml"/><Relationship Id="rId10" Type="http://schemas.openxmlformats.org/officeDocument/2006/relationships/tags" Target="../tags/tag102.xml"/><Relationship Id="rId4" Type="http://schemas.openxmlformats.org/officeDocument/2006/relationships/tags" Target="../tags/tag96.xml"/><Relationship Id="rId9" Type="http://schemas.openxmlformats.org/officeDocument/2006/relationships/tags" Target="../tags/tag10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6350" y="-16669"/>
            <a:ext cx="9145588" cy="180975"/>
            <a:chOff x="-4" y="-14"/>
            <a:chExt cx="5646" cy="149"/>
          </a:xfrm>
        </p:grpSpPr>
        <p:sp>
          <p:nvSpPr>
            <p:cNvPr id="5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4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7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6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7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8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6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9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3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0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1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4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2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3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4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4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5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6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7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8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9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0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1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2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3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4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5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6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7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8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6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9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0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6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1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6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6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1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7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8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9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0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1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2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3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6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4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5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6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7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8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9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4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0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1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6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2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3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6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4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5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6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6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7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8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9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0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1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4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2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3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6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4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5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2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6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7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8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4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9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0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1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2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7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3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4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4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5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6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4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7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8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9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0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1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0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2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3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4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5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6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7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8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9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0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1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2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3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4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8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5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6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6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7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8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4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9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0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7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1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2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3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4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5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6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2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7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8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9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0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1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2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3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4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5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6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7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8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9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0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1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2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5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9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6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7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8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8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9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0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6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1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8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2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3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4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5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0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6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7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8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9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150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534150" y="-15446"/>
            <a:ext cx="2611438" cy="179785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588" tIns="46293" rIns="92588" bIns="46293"/>
          <a:lstStyle/>
          <a:p>
            <a:endParaRPr lang="ru-RU"/>
          </a:p>
        </p:txBody>
      </p:sp>
      <p:sp>
        <p:nvSpPr>
          <p:cNvPr id="151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6307" y="-20235"/>
            <a:ext cx="9174163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90" tIns="45546" rIns="91090" bIns="45546"/>
          <a:lstStyle/>
          <a:p>
            <a:endParaRPr lang="ru-RU"/>
          </a:p>
        </p:txBody>
      </p:sp>
      <p:grpSp>
        <p:nvGrpSpPr>
          <p:cNvPr id="152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4805" y="4962557"/>
            <a:ext cx="9140825" cy="197644"/>
            <a:chOff x="3" y="4085"/>
            <a:chExt cx="5643" cy="163"/>
          </a:xfrm>
        </p:grpSpPr>
        <p:sp>
          <p:nvSpPr>
            <p:cNvPr id="153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203" tIns="46098" rIns="92203" bIns="46098" anchor="ctr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4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2 h 164"/>
                <a:gd name="T4" fmla="*/ 1612 w 1612"/>
                <a:gd name="T5" fmla="*/ 132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lIns="92939" tIns="46470" rIns="92939" bIns="46470"/>
            <a:lstStyle/>
            <a:p>
              <a:endParaRPr lang="ru-RU"/>
            </a:p>
          </p:txBody>
        </p:sp>
      </p:grpSp>
      <p:grpSp>
        <p:nvGrpSpPr>
          <p:cNvPr id="155" name="McK Slide Elements"/>
          <p:cNvGrpSpPr>
            <a:grpSpLocks/>
          </p:cNvGrpSpPr>
          <p:nvPr/>
        </p:nvGrpSpPr>
        <p:grpSpPr bwMode="auto">
          <a:xfrm>
            <a:off x="125417" y="407194"/>
            <a:ext cx="8793162" cy="4716066"/>
            <a:chOff x="77" y="335"/>
            <a:chExt cx="5429" cy="3882"/>
          </a:xfrm>
        </p:grpSpPr>
        <p:sp>
          <p:nvSpPr>
            <p:cNvPr id="156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203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600" dirty="0" smtClean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7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883"/>
              <a:ext cx="5145" cy="334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8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208590" y="2063029"/>
            <a:ext cx="1729641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9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585247" y="3216147"/>
            <a:ext cx="976229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60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1593" y="4"/>
          <a:ext cx="161925" cy="1214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301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3" y="4"/>
                        <a:ext cx="161925" cy="12144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20"/>
            <a:ext cx="7772400" cy="29238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4" y="2914654"/>
            <a:ext cx="6400800" cy="246221"/>
          </a:xfrm>
        </p:spPr>
        <p:txBody>
          <a:bodyPr/>
          <a:lstStyle>
            <a:lvl1pPr marL="0" indent="0" algn="ctr">
              <a:buNone/>
              <a:defRPr/>
            </a:lvl1pPr>
            <a:lvl2pPr marL="455456" indent="0" algn="ctr">
              <a:buNone/>
              <a:defRPr/>
            </a:lvl2pPr>
            <a:lvl3pPr marL="910937" indent="0" algn="ctr">
              <a:buNone/>
              <a:defRPr/>
            </a:lvl3pPr>
            <a:lvl4pPr marL="1366410" indent="0" algn="ctr">
              <a:buNone/>
              <a:defRPr/>
            </a:lvl4pPr>
            <a:lvl5pPr marL="1821879" indent="0" algn="ctr">
              <a:buNone/>
              <a:defRPr/>
            </a:lvl5pPr>
            <a:lvl6pPr marL="2277349" indent="0" algn="ctr">
              <a:buNone/>
              <a:defRPr/>
            </a:lvl6pPr>
            <a:lvl7pPr marL="2732824" indent="0" algn="ctr">
              <a:buNone/>
              <a:defRPr/>
            </a:lvl7pPr>
            <a:lvl8pPr marL="3188288" indent="0" algn="ctr">
              <a:buNone/>
              <a:defRPr/>
            </a:lvl8pPr>
            <a:lvl9pPr marL="3643758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161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9DFBE1-6935-4572-AD8F-A72B1A5952D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62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32401648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6350" y="-16669"/>
            <a:ext cx="9145588" cy="180975"/>
            <a:chOff x="-4" y="-14"/>
            <a:chExt cx="5646" cy="149"/>
          </a:xfrm>
        </p:grpSpPr>
        <p:sp>
          <p:nvSpPr>
            <p:cNvPr id="5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4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7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6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7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8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6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9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3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0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1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4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2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3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4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4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5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6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7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8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9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0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1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2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3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4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5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6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7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8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6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9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0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6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1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6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6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1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7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8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9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0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1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2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3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6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4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5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6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7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8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9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4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0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1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6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2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3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6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4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5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6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6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7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8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9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0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1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4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2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3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6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4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5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2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6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7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8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4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9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0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1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2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7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3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4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4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5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6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4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7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8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9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0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1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0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2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3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4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5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6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7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8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9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0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1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2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3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4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8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5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6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6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7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8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4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9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0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7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1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2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3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4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5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6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2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7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8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9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0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1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2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3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4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5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6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7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8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9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0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1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2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5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9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6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7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8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8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9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0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6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1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8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2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3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4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5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0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6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7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8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9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150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534150" y="-15446"/>
            <a:ext cx="2611438" cy="179785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588" tIns="46293" rIns="92588" bIns="46293"/>
          <a:lstStyle/>
          <a:p>
            <a:endParaRPr lang="ru-RU"/>
          </a:p>
        </p:txBody>
      </p:sp>
      <p:sp>
        <p:nvSpPr>
          <p:cNvPr id="151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6307" y="-20235"/>
            <a:ext cx="9174163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90" tIns="45546" rIns="91090" bIns="45546"/>
          <a:lstStyle/>
          <a:p>
            <a:endParaRPr lang="ru-RU"/>
          </a:p>
        </p:txBody>
      </p:sp>
      <p:grpSp>
        <p:nvGrpSpPr>
          <p:cNvPr id="152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4805" y="4962557"/>
            <a:ext cx="9140825" cy="197644"/>
            <a:chOff x="3" y="4085"/>
            <a:chExt cx="5643" cy="163"/>
          </a:xfrm>
        </p:grpSpPr>
        <p:sp>
          <p:nvSpPr>
            <p:cNvPr id="153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203" tIns="46098" rIns="92203" bIns="46098" anchor="ctr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4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2 h 164"/>
                <a:gd name="T4" fmla="*/ 1612 w 1612"/>
                <a:gd name="T5" fmla="*/ 132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lIns="92939" tIns="46470" rIns="92939" bIns="46470"/>
            <a:lstStyle/>
            <a:p>
              <a:endParaRPr lang="ru-RU"/>
            </a:p>
          </p:txBody>
        </p:sp>
      </p:grpSp>
      <p:grpSp>
        <p:nvGrpSpPr>
          <p:cNvPr id="155" name="McK Slide Elements"/>
          <p:cNvGrpSpPr>
            <a:grpSpLocks/>
          </p:cNvGrpSpPr>
          <p:nvPr/>
        </p:nvGrpSpPr>
        <p:grpSpPr bwMode="auto">
          <a:xfrm>
            <a:off x="125417" y="407194"/>
            <a:ext cx="8793162" cy="4716066"/>
            <a:chOff x="77" y="335"/>
            <a:chExt cx="5429" cy="3882"/>
          </a:xfrm>
        </p:grpSpPr>
        <p:sp>
          <p:nvSpPr>
            <p:cNvPr id="156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203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600" dirty="0" smtClean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7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883"/>
              <a:ext cx="5145" cy="334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8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208590" y="2063029"/>
            <a:ext cx="1729641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9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585247" y="3216147"/>
            <a:ext cx="976229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60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1593" y="4"/>
          <a:ext cx="161925" cy="1214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6517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3" y="4"/>
                        <a:ext cx="161925" cy="12144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486598" y="973962"/>
            <a:ext cx="4431983" cy="981922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61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F1C3FC-E878-4B0B-AE81-AD127702E3C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62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21471894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6350" y="-16669"/>
            <a:ext cx="9145588" cy="180975"/>
            <a:chOff x="-4" y="-14"/>
            <a:chExt cx="5646" cy="149"/>
          </a:xfrm>
        </p:grpSpPr>
        <p:sp>
          <p:nvSpPr>
            <p:cNvPr id="5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4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7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6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7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8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6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9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3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0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1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4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2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3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4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4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5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6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7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8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9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0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1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2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3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4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5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6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7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8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6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9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0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6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1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6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6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1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7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8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9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0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1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2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3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6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4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5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6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7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8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9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4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0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1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6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2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3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6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4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5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6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6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7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8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9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0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1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4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2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3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6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4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5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2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6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7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8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4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9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0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1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2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7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3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4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4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5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6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4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7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8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9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0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1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0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2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3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4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5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6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7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8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9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0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1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2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3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4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8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5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6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6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7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8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4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9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0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7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1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2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3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4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5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6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2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7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8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9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0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1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2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3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4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5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6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7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8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9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0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1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2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5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9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6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7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8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8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9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0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6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1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8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2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3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4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5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0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6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7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8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9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150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534150" y="-15446"/>
            <a:ext cx="2611438" cy="179785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588" tIns="46293" rIns="92588" bIns="46293"/>
          <a:lstStyle/>
          <a:p>
            <a:endParaRPr lang="ru-RU"/>
          </a:p>
        </p:txBody>
      </p:sp>
      <p:sp>
        <p:nvSpPr>
          <p:cNvPr id="151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6307" y="-20235"/>
            <a:ext cx="9174163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90" tIns="45546" rIns="91090" bIns="45546"/>
          <a:lstStyle/>
          <a:p>
            <a:endParaRPr lang="ru-RU"/>
          </a:p>
        </p:txBody>
      </p:sp>
      <p:grpSp>
        <p:nvGrpSpPr>
          <p:cNvPr id="152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4805" y="4962557"/>
            <a:ext cx="9140825" cy="197644"/>
            <a:chOff x="3" y="4085"/>
            <a:chExt cx="5643" cy="163"/>
          </a:xfrm>
        </p:grpSpPr>
        <p:sp>
          <p:nvSpPr>
            <p:cNvPr id="153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203" tIns="46098" rIns="92203" bIns="46098" anchor="ctr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4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2 h 164"/>
                <a:gd name="T4" fmla="*/ 1612 w 1612"/>
                <a:gd name="T5" fmla="*/ 132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lIns="92939" tIns="46470" rIns="92939" bIns="46470"/>
            <a:lstStyle/>
            <a:p>
              <a:endParaRPr lang="ru-RU"/>
            </a:p>
          </p:txBody>
        </p:sp>
      </p:grpSp>
      <p:grpSp>
        <p:nvGrpSpPr>
          <p:cNvPr id="155" name="McK Slide Elements"/>
          <p:cNvGrpSpPr>
            <a:grpSpLocks/>
          </p:cNvGrpSpPr>
          <p:nvPr/>
        </p:nvGrpSpPr>
        <p:grpSpPr bwMode="auto">
          <a:xfrm>
            <a:off x="125417" y="407194"/>
            <a:ext cx="8793162" cy="4716066"/>
            <a:chOff x="77" y="335"/>
            <a:chExt cx="5429" cy="3882"/>
          </a:xfrm>
        </p:grpSpPr>
        <p:sp>
          <p:nvSpPr>
            <p:cNvPr id="156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203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600" dirty="0" smtClean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7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883"/>
              <a:ext cx="5145" cy="334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8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208590" y="2063029"/>
            <a:ext cx="1729641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9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585247" y="3216147"/>
            <a:ext cx="976229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60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1593" y="4"/>
          <a:ext cx="161925" cy="1214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7541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3" y="4"/>
                        <a:ext cx="161925" cy="12144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333851" y="176213"/>
            <a:ext cx="584775" cy="17145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351503" y="176213"/>
            <a:ext cx="2215991" cy="17145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61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854228-CDCC-4449-BDD4-4AC8F0A9AC1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62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36875642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6350" y="-16669"/>
            <a:ext cx="9145588" cy="180975"/>
            <a:chOff x="-4" y="-14"/>
            <a:chExt cx="5646" cy="149"/>
          </a:xfrm>
        </p:grpSpPr>
        <p:sp>
          <p:nvSpPr>
            <p:cNvPr id="5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4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7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6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7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8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6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9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3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0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1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4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2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3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4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4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5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6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7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8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9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0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1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2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3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4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5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6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7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8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6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9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0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6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1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6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6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1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7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8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9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0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1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2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3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6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4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5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6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7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8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9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4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0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1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6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2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3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6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4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5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6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6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7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8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9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0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1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4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2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3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6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4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5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2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6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7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8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4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9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0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1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2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7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3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4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4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5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6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4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7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8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9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0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1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0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2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3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4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5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6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7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8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9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0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1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2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3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4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8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5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6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6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7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8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4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9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0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7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1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2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3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4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5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6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2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7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8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9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0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1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2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3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4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5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6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7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8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9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0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1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2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5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9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6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7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8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8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9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0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6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1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8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2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3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4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5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0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6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7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8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9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150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534150" y="-15446"/>
            <a:ext cx="2611438" cy="179785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588" tIns="46293" rIns="92588" bIns="46293"/>
          <a:lstStyle/>
          <a:p>
            <a:endParaRPr lang="ru-RU"/>
          </a:p>
        </p:txBody>
      </p:sp>
      <p:sp>
        <p:nvSpPr>
          <p:cNvPr id="151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6307" y="-20235"/>
            <a:ext cx="9174163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90" tIns="45546" rIns="91090" bIns="45546"/>
          <a:lstStyle/>
          <a:p>
            <a:endParaRPr lang="ru-RU"/>
          </a:p>
        </p:txBody>
      </p:sp>
      <p:grpSp>
        <p:nvGrpSpPr>
          <p:cNvPr id="152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4805" y="4962557"/>
            <a:ext cx="9140825" cy="197644"/>
            <a:chOff x="3" y="4085"/>
            <a:chExt cx="5643" cy="163"/>
          </a:xfrm>
        </p:grpSpPr>
        <p:sp>
          <p:nvSpPr>
            <p:cNvPr id="153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203" tIns="46098" rIns="92203" bIns="46098" anchor="ctr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4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2 h 164"/>
                <a:gd name="T4" fmla="*/ 1612 w 1612"/>
                <a:gd name="T5" fmla="*/ 132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lIns="92939" tIns="46470" rIns="92939" bIns="46470"/>
            <a:lstStyle/>
            <a:p>
              <a:endParaRPr lang="ru-RU"/>
            </a:p>
          </p:txBody>
        </p:sp>
      </p:grpSp>
      <p:grpSp>
        <p:nvGrpSpPr>
          <p:cNvPr id="155" name="McK Slide Elements"/>
          <p:cNvGrpSpPr>
            <a:grpSpLocks/>
          </p:cNvGrpSpPr>
          <p:nvPr/>
        </p:nvGrpSpPr>
        <p:grpSpPr bwMode="auto">
          <a:xfrm>
            <a:off x="125417" y="407194"/>
            <a:ext cx="8793162" cy="4716066"/>
            <a:chOff x="77" y="335"/>
            <a:chExt cx="5429" cy="3882"/>
          </a:xfrm>
        </p:grpSpPr>
        <p:sp>
          <p:nvSpPr>
            <p:cNvPr id="156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203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600" dirty="0" smtClean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7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883"/>
              <a:ext cx="5145" cy="334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8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208590" y="2063029"/>
            <a:ext cx="1729641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9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585247" y="3216147"/>
            <a:ext cx="976229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60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1593" y="4"/>
          <a:ext cx="161925" cy="1214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8565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3" y="4"/>
                        <a:ext cx="161925" cy="12144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2238" y="176220"/>
            <a:ext cx="8793162" cy="29238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125417" y="973944"/>
            <a:ext cx="8793162" cy="246221"/>
          </a:xfrm>
        </p:spPr>
        <p:txBody>
          <a:bodyPr/>
          <a:lstStyle/>
          <a:p>
            <a:pPr lvl="0"/>
            <a:endParaRPr lang="ru-RU" noProof="0" dirty="0" smtClean="0"/>
          </a:p>
        </p:txBody>
      </p:sp>
      <p:sp>
        <p:nvSpPr>
          <p:cNvPr id="161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4C76E2-0AA6-4396-B2B1-BF053D41778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62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11238330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6350" y="-16669"/>
            <a:ext cx="9145588" cy="180975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4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7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6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3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4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4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6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6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6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1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6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4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6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6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6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4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6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2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4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7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4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4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0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8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6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4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7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2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9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8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6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8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0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534150" y="-15446"/>
            <a:ext cx="2611438" cy="179785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588" tIns="46293" rIns="92588" bIns="46293"/>
          <a:lstStyle/>
          <a:p>
            <a:endParaRPr lang="ru-RU"/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6307" y="-20235"/>
            <a:ext cx="9174163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90" tIns="45546" rIns="91090" bIns="45546"/>
          <a:lstStyle/>
          <a:p>
            <a:endParaRPr lang="ru-RU"/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4805" y="4962557"/>
            <a:ext cx="9140825" cy="197644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203" tIns="46098" rIns="92203" bIns="46098" anchor="ctr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2 h 164"/>
                <a:gd name="T4" fmla="*/ 1612 w 1612"/>
                <a:gd name="T5" fmla="*/ 132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lIns="92939" tIns="46470" rIns="92939" bIns="46470"/>
            <a:lstStyle/>
            <a:p>
              <a:endParaRPr lang="ru-RU"/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125417" y="407194"/>
            <a:ext cx="8793162" cy="4716066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203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600" dirty="0" smtClean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883"/>
              <a:ext cx="5145" cy="334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208590" y="2063029"/>
            <a:ext cx="1729641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585247" y="3216147"/>
            <a:ext cx="976229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1593" y="4"/>
          <a:ext cx="161925" cy="1214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9589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3" y="4"/>
                        <a:ext cx="161925" cy="12144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122279" y="176213"/>
            <a:ext cx="8796337" cy="123110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39E6F2-5330-4358-ABA9-C5147649B67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196563180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6400" y="1598205"/>
            <a:ext cx="7771211" cy="29238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396" y="2915029"/>
            <a:ext cx="6401219" cy="446276"/>
          </a:xfrm>
        </p:spPr>
        <p:txBody>
          <a:bodyPr/>
          <a:lstStyle>
            <a:lvl1pPr marL="0" indent="0" algn="ctr">
              <a:buNone/>
              <a:defRPr/>
            </a:lvl1pPr>
            <a:lvl2pPr marL="413900" indent="0" algn="ctr">
              <a:buNone/>
              <a:defRPr/>
            </a:lvl2pPr>
            <a:lvl3pPr marL="827800" indent="0" algn="ctr">
              <a:buNone/>
              <a:defRPr/>
            </a:lvl3pPr>
            <a:lvl4pPr marL="1241698" indent="0" algn="ctr">
              <a:buNone/>
              <a:defRPr/>
            </a:lvl4pPr>
            <a:lvl5pPr marL="1655596" indent="0" algn="ctr">
              <a:buNone/>
              <a:defRPr/>
            </a:lvl5pPr>
            <a:lvl6pPr marL="2069491" indent="0" algn="ctr">
              <a:buNone/>
              <a:defRPr/>
            </a:lvl6pPr>
            <a:lvl7pPr marL="2483392" indent="0" algn="ctr">
              <a:buNone/>
              <a:defRPr/>
            </a:lvl7pPr>
            <a:lvl8pPr marL="2897293" indent="0" algn="ctr">
              <a:buNone/>
              <a:defRPr/>
            </a:lvl8pPr>
            <a:lvl9pPr marL="3311191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srgbClr val="FFFFFF"/>
                </a:solidFill>
              </a:rPr>
              <a:t>MOS-ROS005-200600608-SS1wm-r_c</a:t>
            </a:r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36435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srgbClr val="FFFFFF"/>
                </a:solidFill>
              </a:rPr>
              <a:t>MOS-ROS005-200600608-SS1wm-r_c</a:t>
            </a:r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40723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745" y="3305581"/>
            <a:ext cx="7772609" cy="553998"/>
          </a:xfrm>
        </p:spPr>
        <p:txBody>
          <a:bodyPr/>
          <a:lstStyle>
            <a:lvl1pPr algn="l">
              <a:defRPr sz="36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745" y="3028581"/>
            <a:ext cx="7772609" cy="276999"/>
          </a:xfrm>
        </p:spPr>
        <p:txBody>
          <a:bodyPr anchor="b"/>
          <a:lstStyle>
            <a:lvl1pPr marL="0" indent="0">
              <a:buNone/>
              <a:defRPr sz="1800"/>
            </a:lvl1pPr>
            <a:lvl2pPr marL="413900" indent="0">
              <a:buNone/>
              <a:defRPr sz="1600"/>
            </a:lvl2pPr>
            <a:lvl3pPr marL="827800" indent="0">
              <a:buNone/>
              <a:defRPr sz="1500"/>
            </a:lvl3pPr>
            <a:lvl4pPr marL="1241698" indent="0">
              <a:buNone/>
              <a:defRPr sz="1300"/>
            </a:lvl4pPr>
            <a:lvl5pPr marL="1655596" indent="0">
              <a:buNone/>
              <a:defRPr sz="1300"/>
            </a:lvl5pPr>
            <a:lvl6pPr marL="2069491" indent="0">
              <a:buNone/>
              <a:defRPr sz="1300"/>
            </a:lvl6pPr>
            <a:lvl7pPr marL="2483392" indent="0">
              <a:buNone/>
              <a:defRPr sz="1300"/>
            </a:lvl7pPr>
            <a:lvl8pPr marL="2897293" indent="0">
              <a:buNone/>
              <a:defRPr sz="1300"/>
            </a:lvl8pPr>
            <a:lvl9pPr marL="3311191" indent="0">
              <a:buNone/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srgbClr val="FFFFFF"/>
                </a:solidFill>
              </a:rPr>
              <a:t>MOS-ROS005-200600608-SS1wm-r_c</a:t>
            </a:r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188923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25815" y="973558"/>
            <a:ext cx="4329456" cy="1508105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89496" y="973558"/>
            <a:ext cx="4329455" cy="1508105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srgbClr val="FFFFFF"/>
                </a:solidFill>
              </a:rPr>
              <a:t>MOS-ROS005-200600608-SS1wm-r_c</a:t>
            </a:r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78975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136" y="205968"/>
            <a:ext cx="8229739" cy="292388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152" y="1292285"/>
            <a:ext cx="4040079" cy="338554"/>
          </a:xfrm>
        </p:spPr>
        <p:txBody>
          <a:bodyPr anchor="b"/>
          <a:lstStyle>
            <a:lvl1pPr marL="0" indent="0">
              <a:buNone/>
              <a:defRPr sz="2200" b="1"/>
            </a:lvl1pPr>
            <a:lvl2pPr marL="413900" indent="0">
              <a:buNone/>
              <a:defRPr sz="1800" b="1"/>
            </a:lvl2pPr>
            <a:lvl3pPr marL="827800" indent="0">
              <a:buNone/>
              <a:defRPr sz="1600" b="1"/>
            </a:lvl3pPr>
            <a:lvl4pPr marL="1241698" indent="0">
              <a:buNone/>
              <a:defRPr sz="1500" b="1"/>
            </a:lvl4pPr>
            <a:lvl5pPr marL="1655596" indent="0">
              <a:buNone/>
              <a:defRPr sz="1500" b="1"/>
            </a:lvl5pPr>
            <a:lvl6pPr marL="2069491" indent="0">
              <a:buNone/>
              <a:defRPr sz="1500" b="1"/>
            </a:lvl6pPr>
            <a:lvl7pPr marL="2483392" indent="0">
              <a:buNone/>
              <a:defRPr sz="1500" b="1"/>
            </a:lvl7pPr>
            <a:lvl8pPr marL="2897293" indent="0">
              <a:buNone/>
              <a:defRPr sz="1500" b="1"/>
            </a:lvl8pPr>
            <a:lvl9pPr marL="3311191" indent="0">
              <a:buNone/>
              <a:defRPr sz="15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152" y="1630847"/>
            <a:ext cx="4040079" cy="1323439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6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394" y="1292285"/>
            <a:ext cx="4041477" cy="338554"/>
          </a:xfrm>
        </p:spPr>
        <p:txBody>
          <a:bodyPr anchor="b"/>
          <a:lstStyle>
            <a:lvl1pPr marL="0" indent="0">
              <a:buNone/>
              <a:defRPr sz="2200" b="1"/>
            </a:lvl1pPr>
            <a:lvl2pPr marL="413900" indent="0">
              <a:buNone/>
              <a:defRPr sz="1800" b="1"/>
            </a:lvl2pPr>
            <a:lvl3pPr marL="827800" indent="0">
              <a:buNone/>
              <a:defRPr sz="1600" b="1"/>
            </a:lvl3pPr>
            <a:lvl4pPr marL="1241698" indent="0">
              <a:buNone/>
              <a:defRPr sz="1500" b="1"/>
            </a:lvl4pPr>
            <a:lvl5pPr marL="1655596" indent="0">
              <a:buNone/>
              <a:defRPr sz="1500" b="1"/>
            </a:lvl5pPr>
            <a:lvl6pPr marL="2069491" indent="0">
              <a:buNone/>
              <a:defRPr sz="1500" b="1"/>
            </a:lvl6pPr>
            <a:lvl7pPr marL="2483392" indent="0">
              <a:buNone/>
              <a:defRPr sz="1500" b="1"/>
            </a:lvl7pPr>
            <a:lvl8pPr marL="2897293" indent="0">
              <a:buNone/>
              <a:defRPr sz="1500" b="1"/>
            </a:lvl8pPr>
            <a:lvl9pPr marL="3311191" indent="0">
              <a:buNone/>
              <a:defRPr sz="15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394" y="1630847"/>
            <a:ext cx="4041477" cy="1323439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6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8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srgbClr val="FFFFFF"/>
                </a:solidFill>
              </a:rPr>
              <a:t>MOS-ROS005-200600608-SS1wm-r_c</a:t>
            </a:r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205009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srgbClr val="FFFFFF"/>
                </a:solidFill>
              </a:rPr>
              <a:t>MOS-ROS005-200600608-SS1wm-r_c</a:t>
            </a:r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10627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6350" y="-16669"/>
            <a:ext cx="9145588" cy="180975"/>
            <a:chOff x="-4" y="-14"/>
            <a:chExt cx="5646" cy="149"/>
          </a:xfrm>
        </p:grpSpPr>
        <p:sp>
          <p:nvSpPr>
            <p:cNvPr id="5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4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7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6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7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8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6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9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3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0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1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4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2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3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4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4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5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6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7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8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9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0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1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2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3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4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5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6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7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8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6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9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0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6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1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6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6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1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7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8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9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0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1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2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3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6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4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5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6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7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8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9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4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0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1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6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2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3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6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4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5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6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6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7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8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9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0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1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4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2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3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6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4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5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2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6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7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8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4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9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0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1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2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7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3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4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4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5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6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4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7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8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9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0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1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0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2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3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4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5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6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7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8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9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0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1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2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3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4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8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5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6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6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7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8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4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9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0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7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1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2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3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4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5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6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2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7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8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9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0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1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2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3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4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5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6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7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8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9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0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1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2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5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9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6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7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8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8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9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0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6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1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8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2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3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4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5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0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6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7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8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9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150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534150" y="-15446"/>
            <a:ext cx="2611438" cy="179785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588" tIns="46293" rIns="92588" bIns="46293"/>
          <a:lstStyle/>
          <a:p>
            <a:endParaRPr lang="ru-RU"/>
          </a:p>
        </p:txBody>
      </p:sp>
      <p:sp>
        <p:nvSpPr>
          <p:cNvPr id="151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6307" y="-20235"/>
            <a:ext cx="9174163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90" tIns="45546" rIns="91090" bIns="45546"/>
          <a:lstStyle/>
          <a:p>
            <a:endParaRPr lang="ru-RU"/>
          </a:p>
        </p:txBody>
      </p:sp>
      <p:grpSp>
        <p:nvGrpSpPr>
          <p:cNvPr id="152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4805" y="4962557"/>
            <a:ext cx="9140825" cy="197644"/>
            <a:chOff x="3" y="4085"/>
            <a:chExt cx="5643" cy="163"/>
          </a:xfrm>
        </p:grpSpPr>
        <p:sp>
          <p:nvSpPr>
            <p:cNvPr id="153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203" tIns="46098" rIns="92203" bIns="46098" anchor="ctr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4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2 h 164"/>
                <a:gd name="T4" fmla="*/ 1612 w 1612"/>
                <a:gd name="T5" fmla="*/ 132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lIns="92939" tIns="46470" rIns="92939" bIns="46470"/>
            <a:lstStyle/>
            <a:p>
              <a:endParaRPr lang="ru-RU"/>
            </a:p>
          </p:txBody>
        </p:sp>
      </p:grpSp>
      <p:grpSp>
        <p:nvGrpSpPr>
          <p:cNvPr id="155" name="McK Slide Elements"/>
          <p:cNvGrpSpPr>
            <a:grpSpLocks/>
          </p:cNvGrpSpPr>
          <p:nvPr/>
        </p:nvGrpSpPr>
        <p:grpSpPr bwMode="auto">
          <a:xfrm>
            <a:off x="125417" y="407194"/>
            <a:ext cx="8793162" cy="4716066"/>
            <a:chOff x="77" y="335"/>
            <a:chExt cx="5429" cy="3882"/>
          </a:xfrm>
        </p:grpSpPr>
        <p:sp>
          <p:nvSpPr>
            <p:cNvPr id="156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203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600" dirty="0" smtClean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7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883"/>
              <a:ext cx="5145" cy="334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8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208590" y="2063029"/>
            <a:ext cx="1729641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9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585247" y="3216147"/>
            <a:ext cx="976229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60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1593" y="4"/>
          <a:ext cx="161925" cy="1214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325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3" y="4"/>
                        <a:ext cx="161925" cy="12144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61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7FDFBC-567F-4842-BA84-B1A2B4C73FD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62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23693245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3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srgbClr val="FFFFFF"/>
                </a:solidFill>
              </a:rPr>
              <a:t>MOS-ROS005-200600608-SS1wm-r_c</a:t>
            </a:r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352061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137" y="798982"/>
            <a:ext cx="3008391" cy="276999"/>
          </a:xfrm>
        </p:spPr>
        <p:txBody>
          <a:bodyPr anchor="b"/>
          <a:lstStyle>
            <a:lvl1pPr algn="l">
              <a:defRPr sz="18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4562" y="204856"/>
            <a:ext cx="5112308" cy="1738938"/>
          </a:xfrm>
        </p:spPr>
        <p:txBody>
          <a:bodyPr/>
          <a:lstStyle>
            <a:lvl1pPr>
              <a:defRPr sz="2900"/>
            </a:lvl1pPr>
            <a:lvl2pPr>
              <a:defRPr sz="2600"/>
            </a:lvl2pPr>
            <a:lvl3pPr>
              <a:defRPr sz="22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137" y="1075972"/>
            <a:ext cx="3008391" cy="200055"/>
          </a:xfrm>
        </p:spPr>
        <p:txBody>
          <a:bodyPr/>
          <a:lstStyle>
            <a:lvl1pPr marL="0" indent="0">
              <a:buNone/>
              <a:defRPr sz="1300"/>
            </a:lvl1pPr>
            <a:lvl2pPr marL="413900" indent="0">
              <a:buNone/>
              <a:defRPr sz="1100"/>
            </a:lvl2pPr>
            <a:lvl3pPr marL="827800" indent="0">
              <a:buNone/>
              <a:defRPr sz="900"/>
            </a:lvl3pPr>
            <a:lvl4pPr marL="1241698" indent="0">
              <a:buNone/>
              <a:defRPr sz="800"/>
            </a:lvl4pPr>
            <a:lvl5pPr marL="1655596" indent="0">
              <a:buNone/>
              <a:defRPr sz="800"/>
            </a:lvl5pPr>
            <a:lvl6pPr marL="2069491" indent="0">
              <a:buNone/>
              <a:defRPr sz="800"/>
            </a:lvl6pPr>
            <a:lvl7pPr marL="2483392" indent="0">
              <a:buNone/>
              <a:defRPr sz="800"/>
            </a:lvl7pPr>
            <a:lvl8pPr marL="2897293" indent="0">
              <a:buNone/>
              <a:defRPr sz="800"/>
            </a:lvl8pPr>
            <a:lvl9pPr marL="3311191" indent="0">
              <a:buNone/>
              <a:defRPr sz="8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srgbClr val="FFFFFF"/>
                </a:solidFill>
              </a:rPr>
              <a:t>MOS-ROS005-200600608-SS1wm-r_c</a:t>
            </a:r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288245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181" y="3748899"/>
            <a:ext cx="5486959" cy="276999"/>
          </a:xfrm>
        </p:spPr>
        <p:txBody>
          <a:bodyPr anchor="b"/>
          <a:lstStyle>
            <a:lvl1pPr algn="l">
              <a:defRPr sz="18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181" y="459201"/>
            <a:ext cx="5486959" cy="446276"/>
          </a:xfrm>
        </p:spPr>
        <p:txBody>
          <a:bodyPr/>
          <a:lstStyle>
            <a:lvl1pPr marL="0" indent="0">
              <a:buNone/>
              <a:defRPr sz="2900"/>
            </a:lvl1pPr>
            <a:lvl2pPr marL="413900" indent="0">
              <a:buNone/>
              <a:defRPr sz="2600"/>
            </a:lvl2pPr>
            <a:lvl3pPr marL="827800" indent="0">
              <a:buNone/>
              <a:defRPr sz="2200"/>
            </a:lvl3pPr>
            <a:lvl4pPr marL="1241698" indent="0">
              <a:buNone/>
              <a:defRPr sz="1800"/>
            </a:lvl4pPr>
            <a:lvl5pPr marL="1655596" indent="0">
              <a:buNone/>
              <a:defRPr sz="1800"/>
            </a:lvl5pPr>
            <a:lvl6pPr marL="2069491" indent="0">
              <a:buNone/>
              <a:defRPr sz="1800"/>
            </a:lvl6pPr>
            <a:lvl7pPr marL="2483392" indent="0">
              <a:buNone/>
              <a:defRPr sz="1800"/>
            </a:lvl7pPr>
            <a:lvl8pPr marL="2897293" indent="0">
              <a:buNone/>
              <a:defRPr sz="1800"/>
            </a:lvl8pPr>
            <a:lvl9pPr marL="3311191" indent="0">
              <a:buNone/>
              <a:defRPr sz="18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181" y="4025887"/>
            <a:ext cx="5486959" cy="200055"/>
          </a:xfrm>
        </p:spPr>
        <p:txBody>
          <a:bodyPr/>
          <a:lstStyle>
            <a:lvl1pPr marL="0" indent="0">
              <a:buNone/>
              <a:defRPr sz="1300"/>
            </a:lvl1pPr>
            <a:lvl2pPr marL="413900" indent="0">
              <a:buNone/>
              <a:defRPr sz="1100"/>
            </a:lvl2pPr>
            <a:lvl3pPr marL="827800" indent="0">
              <a:buNone/>
              <a:defRPr sz="900"/>
            </a:lvl3pPr>
            <a:lvl4pPr marL="1241698" indent="0">
              <a:buNone/>
              <a:defRPr sz="800"/>
            </a:lvl4pPr>
            <a:lvl5pPr marL="1655596" indent="0">
              <a:buNone/>
              <a:defRPr sz="800"/>
            </a:lvl5pPr>
            <a:lvl6pPr marL="2069491" indent="0">
              <a:buNone/>
              <a:defRPr sz="800"/>
            </a:lvl6pPr>
            <a:lvl7pPr marL="2483392" indent="0">
              <a:buNone/>
              <a:defRPr sz="800"/>
            </a:lvl7pPr>
            <a:lvl8pPr marL="2897293" indent="0">
              <a:buNone/>
              <a:defRPr sz="800"/>
            </a:lvl8pPr>
            <a:lvl9pPr marL="3311191" indent="0">
              <a:buNone/>
              <a:defRPr sz="8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srgbClr val="FFFFFF"/>
                </a:solidFill>
              </a:rPr>
              <a:t>MOS-ROS005-200600608-SS1wm-r_c</a:t>
            </a:r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759664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255847" y="973570"/>
            <a:ext cx="5663089" cy="1339336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srgbClr val="FFFFFF"/>
                </a:solidFill>
              </a:rPr>
              <a:t>MOS-ROS005-200600608-SS1wm-r_c</a:t>
            </a:r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17782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334159" y="176703"/>
            <a:ext cx="584775" cy="1770399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107898" y="176703"/>
            <a:ext cx="3477875" cy="1770399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srgbClr val="FFFFFF"/>
                </a:solidFill>
              </a:rPr>
              <a:t>MOS-ROS005-200600608-SS1wm-r_c</a:t>
            </a:r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403830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6990" y="-16883"/>
            <a:ext cx="9146796" cy="181205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2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9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6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5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8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2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2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1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2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7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8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8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7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8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2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8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8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8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3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3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7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41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6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3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8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2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8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8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8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41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7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2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5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8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5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7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2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9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2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7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2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7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3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2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6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1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1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41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8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2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9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8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4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6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6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6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8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6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2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534025" y="-15750"/>
            <a:ext cx="2611373" cy="180079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round/>
            <a:headEnd/>
            <a:tailEnd/>
          </a:ln>
        </p:spPr>
        <p:txBody>
          <a:bodyPr lIns="92503" tIns="46256" rIns="92503" bIns="46256"/>
          <a:lstStyle/>
          <a:p>
            <a:pPr defTabSz="931279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>
              <a:solidFill>
                <a:srgbClr val="000000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6966" y="-20256"/>
            <a:ext cx="9174755" cy="193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2779" tIns="41395" rIns="82779" bIns="41395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300">
              <a:solidFill>
                <a:srgbClr val="000000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4198" y="4962296"/>
            <a:ext cx="9141203" cy="19808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9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102111" tIns="51059" rIns="102111" bIns="51059" anchor="ctr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61 h 164"/>
                <a:gd name="T4" fmla="*/ 1612 w 1612"/>
                <a:gd name="T5" fmla="*/ 16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</p:spPr>
          <p:txBody>
            <a:bodyPr rot="10800000" lIns="102179" tIns="51094" rIns="102179" bIns="51094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125819" y="407433"/>
            <a:ext cx="8793114" cy="4715813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2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91114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>
                  <a:solidFill>
                    <a:srgbClr val="000000"/>
                  </a:solidFill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883"/>
              <a:ext cx="5145" cy="3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820613" indent="-820613" defTabSz="911149" fontAlgn="auto">
                <a:spcBef>
                  <a:spcPts val="0"/>
                </a:spcBef>
                <a:spcAft>
                  <a:spcPts val="0"/>
                </a:spcAft>
                <a:tabLst>
                  <a:tab pos="730073" algn="r"/>
                </a:tabLst>
                <a:defRPr/>
              </a:pPr>
              <a:r>
                <a:rPr lang="ru-RU" sz="1200">
                  <a:solidFill>
                    <a:srgbClr val="000000"/>
                  </a:solidFill>
                </a:rPr>
                <a:t>	</a:t>
              </a:r>
              <a:r>
                <a:rPr lang="en-US" sz="1200">
                  <a:solidFill>
                    <a:srgbClr val="000000"/>
                  </a:solidFill>
                </a:rPr>
                <a:t>*</a:t>
              </a:r>
              <a:r>
                <a:rPr lang="ru-RU" sz="1200">
                  <a:solidFill>
                    <a:srgbClr val="000000"/>
                  </a:solidFill>
                </a:rPr>
                <a:t>	Сноска</a:t>
              </a:r>
              <a:endParaRPr lang="en-US" sz="1200">
                <a:solidFill>
                  <a:srgbClr val="000000"/>
                </a:solidFill>
              </a:endParaRPr>
            </a:p>
            <a:p>
              <a:pPr marL="820613" indent="-820613" defTabSz="911149" fontAlgn="auto">
                <a:spcBef>
                  <a:spcPct val="20000"/>
                </a:spcBef>
                <a:spcAft>
                  <a:spcPts val="0"/>
                </a:spcAft>
                <a:tabLst>
                  <a:tab pos="730073" algn="r"/>
                </a:tabLst>
                <a:defRPr/>
              </a:pPr>
              <a:r>
                <a:rPr lang="ru-RU" sz="1200">
                  <a:solidFill>
                    <a:srgbClr val="000000"/>
                  </a:solidFill>
                </a:rPr>
                <a:t>	Источник</a:t>
              </a:r>
              <a:r>
                <a:rPr lang="en-US" sz="1200">
                  <a:solidFill>
                    <a:srgbClr val="000000"/>
                  </a:solidFill>
                </a:rPr>
                <a:t>:</a:t>
              </a:r>
              <a:r>
                <a:rPr lang="ru-RU" sz="1200">
                  <a:solidFill>
                    <a:srgbClr val="000000"/>
                  </a:solidFill>
                </a:rPr>
                <a:t>	Источник</a:t>
              </a:r>
              <a:endParaRPr lang="en-US" sz="1200">
                <a:solidFill>
                  <a:srgbClr val="000000"/>
                </a:solidFill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208614" y="2063006"/>
            <a:ext cx="1729641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3127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>
                <a:solidFill>
                  <a:srgbClr val="000000"/>
                </a:solidFill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585293" y="3216637"/>
            <a:ext cx="976229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3127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>
                <a:solidFill>
                  <a:srgbClr val="000000"/>
                </a:solidFill>
              </a:rPr>
              <a:t>Printed 08/06/2006 17:52:59</a:t>
            </a:r>
          </a:p>
        </p:txBody>
      </p:sp>
      <p:graphicFrame>
        <p:nvGraphicFramePr>
          <p:cNvPr id="159" name="Rectangle 38" hidden="1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6995" y="9"/>
          <a:ext cx="150979" cy="12155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373" name="think-cell Slide" r:id="rId11" imgW="0" imgH="0" progId="TCLayout.ActiveDocument.1">
                  <p:embed/>
                </p:oleObj>
              </mc:Choice>
              <mc:Fallback>
                <p:oleObj name="think-cell Slide" r:id="rId11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995" y="9"/>
                        <a:ext cx="150979" cy="12155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121648" y="176719"/>
            <a:ext cx="8797307" cy="17389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60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61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srgbClr val="FFFFFF"/>
                </a:solidFill>
              </a:rPr>
              <a:t>MOS-ROS005-200600608-SS1wm-r_c</a:t>
            </a:r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132911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1_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121648" y="176719"/>
            <a:ext cx="8797307" cy="17389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srgbClr val="FFFFFF"/>
                </a:solidFill>
              </a:rPr>
              <a:t>MOS-ROS005-200600608-SS1wm-r_c</a:t>
            </a:r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800841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22"/>
            <a:ext cx="7772400" cy="110251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1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0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0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0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0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OS-ROS005-200600608-SS1wm-r_c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75A29-C51F-4DAC-B821-A9D05263BE7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571380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OS-ROS005-200600608-SS1wm-r_c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75A29-C51F-4DAC-B821-A9D05263BE7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5025233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00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01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0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02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0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03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04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05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OS-ROS005-200600608-SS1wm-r_c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75A29-C51F-4DAC-B821-A9D05263BE7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98830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6350" y="-16669"/>
            <a:ext cx="9145588" cy="180975"/>
            <a:chOff x="-4" y="-14"/>
            <a:chExt cx="5646" cy="149"/>
          </a:xfrm>
        </p:grpSpPr>
        <p:sp>
          <p:nvSpPr>
            <p:cNvPr id="5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4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7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6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7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8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6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9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3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0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1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4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2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3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4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4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5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6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7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8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9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0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1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2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3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4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5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6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7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8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6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9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0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6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1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6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6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1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7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8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9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0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1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2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3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6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4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5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6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7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8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9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4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0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1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6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2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3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6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4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5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6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6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7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8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9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0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1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4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2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3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6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4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5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2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6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7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8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4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9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0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1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2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7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3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4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4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5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6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4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7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8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9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0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1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0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2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3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4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5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6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7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8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9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0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1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2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3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4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8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5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6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6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7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8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4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9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0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7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1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2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3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4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5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6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2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7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8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9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0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1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2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3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4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5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6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7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8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9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0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1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2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5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9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6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7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8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8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9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0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6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1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8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2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3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4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5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0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6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7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8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9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150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534150" y="-15446"/>
            <a:ext cx="2611438" cy="179785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588" tIns="46293" rIns="92588" bIns="46293"/>
          <a:lstStyle/>
          <a:p>
            <a:endParaRPr lang="ru-RU"/>
          </a:p>
        </p:txBody>
      </p:sp>
      <p:sp>
        <p:nvSpPr>
          <p:cNvPr id="151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6307" y="-20235"/>
            <a:ext cx="9174163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90" tIns="45546" rIns="91090" bIns="45546"/>
          <a:lstStyle/>
          <a:p>
            <a:endParaRPr lang="ru-RU"/>
          </a:p>
        </p:txBody>
      </p:sp>
      <p:grpSp>
        <p:nvGrpSpPr>
          <p:cNvPr id="152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4805" y="4962557"/>
            <a:ext cx="9140825" cy="197644"/>
            <a:chOff x="3" y="4085"/>
            <a:chExt cx="5643" cy="163"/>
          </a:xfrm>
        </p:grpSpPr>
        <p:sp>
          <p:nvSpPr>
            <p:cNvPr id="153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203" tIns="46098" rIns="92203" bIns="46098" anchor="ctr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4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2 h 164"/>
                <a:gd name="T4" fmla="*/ 1612 w 1612"/>
                <a:gd name="T5" fmla="*/ 132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lIns="92939" tIns="46470" rIns="92939" bIns="46470"/>
            <a:lstStyle/>
            <a:p>
              <a:endParaRPr lang="ru-RU"/>
            </a:p>
          </p:txBody>
        </p:sp>
      </p:grpSp>
      <p:grpSp>
        <p:nvGrpSpPr>
          <p:cNvPr id="155" name="McK Slide Elements"/>
          <p:cNvGrpSpPr>
            <a:grpSpLocks/>
          </p:cNvGrpSpPr>
          <p:nvPr/>
        </p:nvGrpSpPr>
        <p:grpSpPr bwMode="auto">
          <a:xfrm>
            <a:off x="125417" y="407194"/>
            <a:ext cx="8793162" cy="4716066"/>
            <a:chOff x="77" y="335"/>
            <a:chExt cx="5429" cy="3882"/>
          </a:xfrm>
        </p:grpSpPr>
        <p:sp>
          <p:nvSpPr>
            <p:cNvPr id="156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203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600" dirty="0" smtClean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7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883"/>
              <a:ext cx="5145" cy="334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8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208590" y="2063029"/>
            <a:ext cx="1729641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9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585247" y="3216147"/>
            <a:ext cx="976229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60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1593" y="4"/>
          <a:ext cx="161925" cy="1214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349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3" y="4"/>
                        <a:ext cx="161925" cy="12144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5"/>
            <a:ext cx="7772400" cy="61555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97398"/>
            <a:ext cx="777240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456" indent="0">
              <a:buNone/>
              <a:defRPr sz="1800"/>
            </a:lvl2pPr>
            <a:lvl3pPr marL="910937" indent="0">
              <a:buNone/>
              <a:defRPr sz="1600"/>
            </a:lvl3pPr>
            <a:lvl4pPr marL="1366410" indent="0">
              <a:buNone/>
              <a:defRPr sz="1400"/>
            </a:lvl4pPr>
            <a:lvl5pPr marL="1821879" indent="0">
              <a:buNone/>
              <a:defRPr sz="1400"/>
            </a:lvl5pPr>
            <a:lvl6pPr marL="2277349" indent="0">
              <a:buNone/>
              <a:defRPr sz="1400"/>
            </a:lvl6pPr>
            <a:lvl7pPr marL="2732824" indent="0">
              <a:buNone/>
              <a:defRPr sz="1400"/>
            </a:lvl7pPr>
            <a:lvl8pPr marL="3188288" indent="0">
              <a:buNone/>
              <a:defRPr sz="1400"/>
            </a:lvl8pPr>
            <a:lvl9pPr marL="3643758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1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79E372-72F8-44C0-93C9-C3299359391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62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110843712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200154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200154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OS-ROS005-200600608-SS1wm-r_c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75A29-C51F-4DAC-B821-A9D05263BE7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9961661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4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08" indent="0">
              <a:buNone/>
              <a:defRPr sz="2000" b="1"/>
            </a:lvl2pPr>
            <a:lvl3pPr marL="914012" indent="0">
              <a:buNone/>
              <a:defRPr sz="1800" b="1"/>
            </a:lvl3pPr>
            <a:lvl4pPr marL="1371020" indent="0">
              <a:buNone/>
              <a:defRPr sz="1600" b="1"/>
            </a:lvl4pPr>
            <a:lvl5pPr marL="1828025" indent="0">
              <a:buNone/>
              <a:defRPr sz="1600" b="1"/>
            </a:lvl5pPr>
            <a:lvl6pPr marL="2285032" indent="0">
              <a:buNone/>
              <a:defRPr sz="1600" b="1"/>
            </a:lvl6pPr>
            <a:lvl7pPr marL="2742037" indent="0">
              <a:buNone/>
              <a:defRPr sz="1600" b="1"/>
            </a:lvl7pPr>
            <a:lvl8pPr marL="3199044" indent="0">
              <a:buNone/>
              <a:defRPr sz="1600" b="1"/>
            </a:lvl8pPr>
            <a:lvl9pPr marL="365605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4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08" indent="0">
              <a:buNone/>
              <a:defRPr sz="2000" b="1"/>
            </a:lvl2pPr>
            <a:lvl3pPr marL="914012" indent="0">
              <a:buNone/>
              <a:defRPr sz="1800" b="1"/>
            </a:lvl3pPr>
            <a:lvl4pPr marL="1371020" indent="0">
              <a:buNone/>
              <a:defRPr sz="1600" b="1"/>
            </a:lvl4pPr>
            <a:lvl5pPr marL="1828025" indent="0">
              <a:buNone/>
              <a:defRPr sz="1600" b="1"/>
            </a:lvl5pPr>
            <a:lvl6pPr marL="2285032" indent="0">
              <a:buNone/>
              <a:defRPr sz="1600" b="1"/>
            </a:lvl6pPr>
            <a:lvl7pPr marL="2742037" indent="0">
              <a:buNone/>
              <a:defRPr sz="1600" b="1"/>
            </a:lvl7pPr>
            <a:lvl8pPr marL="3199044" indent="0">
              <a:buNone/>
              <a:defRPr sz="1600" b="1"/>
            </a:lvl8pPr>
            <a:lvl9pPr marL="365605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9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OS-ROS005-200600608-SS1wm-r_c</a:t>
            </a: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75A29-C51F-4DAC-B821-A9D05263BE7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9055524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OS-ROS005-200600608-SS1wm-r_c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75A29-C51F-4DAC-B821-A9D05263BE7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0253319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OS-ROS005-200600608-SS1wm-r_c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75A29-C51F-4DAC-B821-A9D05263BE7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4539497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5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04791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5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008" indent="0">
              <a:buNone/>
              <a:defRPr sz="1200"/>
            </a:lvl2pPr>
            <a:lvl3pPr marL="914012" indent="0">
              <a:buNone/>
              <a:defRPr sz="1000"/>
            </a:lvl3pPr>
            <a:lvl4pPr marL="1371020" indent="0">
              <a:buNone/>
              <a:defRPr sz="900"/>
            </a:lvl4pPr>
            <a:lvl5pPr marL="1828025" indent="0">
              <a:buNone/>
              <a:defRPr sz="900"/>
            </a:lvl5pPr>
            <a:lvl6pPr marL="2285032" indent="0">
              <a:buNone/>
              <a:defRPr sz="900"/>
            </a:lvl6pPr>
            <a:lvl7pPr marL="2742037" indent="0">
              <a:buNone/>
              <a:defRPr sz="900"/>
            </a:lvl7pPr>
            <a:lvl8pPr marL="3199044" indent="0">
              <a:buNone/>
              <a:defRPr sz="900"/>
            </a:lvl8pPr>
            <a:lvl9pPr marL="365605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OS-ROS005-200600608-SS1wm-r_c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75A29-C51F-4DAC-B821-A9D05263BE7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1266131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008" indent="0">
              <a:buNone/>
              <a:defRPr sz="2800"/>
            </a:lvl2pPr>
            <a:lvl3pPr marL="914012" indent="0">
              <a:buNone/>
              <a:defRPr sz="2400"/>
            </a:lvl3pPr>
            <a:lvl4pPr marL="1371020" indent="0">
              <a:buNone/>
              <a:defRPr sz="2000"/>
            </a:lvl4pPr>
            <a:lvl5pPr marL="1828025" indent="0">
              <a:buNone/>
              <a:defRPr sz="2000"/>
            </a:lvl5pPr>
            <a:lvl6pPr marL="2285032" indent="0">
              <a:buNone/>
              <a:defRPr sz="2000"/>
            </a:lvl6pPr>
            <a:lvl7pPr marL="2742037" indent="0">
              <a:buNone/>
              <a:defRPr sz="2000"/>
            </a:lvl7pPr>
            <a:lvl8pPr marL="3199044" indent="0">
              <a:buNone/>
              <a:defRPr sz="2000"/>
            </a:lvl8pPr>
            <a:lvl9pPr marL="365605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008" indent="0">
              <a:buNone/>
              <a:defRPr sz="1200"/>
            </a:lvl2pPr>
            <a:lvl3pPr marL="914012" indent="0">
              <a:buNone/>
              <a:defRPr sz="1000"/>
            </a:lvl3pPr>
            <a:lvl4pPr marL="1371020" indent="0">
              <a:buNone/>
              <a:defRPr sz="900"/>
            </a:lvl4pPr>
            <a:lvl5pPr marL="1828025" indent="0">
              <a:buNone/>
              <a:defRPr sz="900"/>
            </a:lvl5pPr>
            <a:lvl6pPr marL="2285032" indent="0">
              <a:buNone/>
              <a:defRPr sz="900"/>
            </a:lvl6pPr>
            <a:lvl7pPr marL="2742037" indent="0">
              <a:buNone/>
              <a:defRPr sz="900"/>
            </a:lvl7pPr>
            <a:lvl8pPr marL="3199044" indent="0">
              <a:buNone/>
              <a:defRPr sz="900"/>
            </a:lvl8pPr>
            <a:lvl9pPr marL="365605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OS-ROS005-200600608-SS1wm-r_c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75A29-C51F-4DAC-B821-A9D05263BE7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2169904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OS-ROS005-200600608-SS1wm-r_c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75A29-C51F-4DAC-B821-A9D05263BE7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9194316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OS-ROS005-200600608-SS1wm-r_c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75A29-C51F-4DAC-B821-A9D05263BE7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828882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6350" y="-16669"/>
            <a:ext cx="9145588" cy="180975"/>
            <a:chOff x="-4" y="-14"/>
            <a:chExt cx="5646" cy="149"/>
          </a:xfrm>
        </p:grpSpPr>
        <p:sp>
          <p:nvSpPr>
            <p:cNvPr id="6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4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7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6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7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8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9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6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0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3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1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2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4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3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4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5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4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6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7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8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9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0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1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2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3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4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5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6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7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8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9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6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0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1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6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6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6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7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1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8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9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0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1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2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3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4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6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5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6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7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8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9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0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4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1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2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6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3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4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6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5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6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7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6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8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9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0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1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2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4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3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4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6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5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6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2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7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8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9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4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0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1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2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3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7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4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4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5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6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7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4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8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9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0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1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2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0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3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4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5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6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7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8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9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0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1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2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3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4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5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8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6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7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6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8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9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4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0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1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7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2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3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4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5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6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7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2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8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9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0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1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2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3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4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5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6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7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8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9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0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1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2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5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6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9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7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8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9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8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0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1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6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2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8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3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4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5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6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0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7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8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9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0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151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534150" y="-15446"/>
            <a:ext cx="2611438" cy="179785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588" tIns="46293" rIns="92588" bIns="46293"/>
          <a:lstStyle/>
          <a:p>
            <a:endParaRPr lang="ru-RU"/>
          </a:p>
        </p:txBody>
      </p:sp>
      <p:sp>
        <p:nvSpPr>
          <p:cNvPr id="152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6307" y="-20235"/>
            <a:ext cx="9174163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90" tIns="45546" rIns="91090" bIns="45546"/>
          <a:lstStyle/>
          <a:p>
            <a:endParaRPr lang="ru-RU"/>
          </a:p>
        </p:txBody>
      </p:sp>
      <p:grpSp>
        <p:nvGrpSpPr>
          <p:cNvPr id="153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4805" y="4962557"/>
            <a:ext cx="9140825" cy="197644"/>
            <a:chOff x="3" y="4085"/>
            <a:chExt cx="5643" cy="163"/>
          </a:xfrm>
        </p:grpSpPr>
        <p:sp>
          <p:nvSpPr>
            <p:cNvPr id="154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203" tIns="46098" rIns="92203" bIns="46098" anchor="ctr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5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2 h 164"/>
                <a:gd name="T4" fmla="*/ 1612 w 1612"/>
                <a:gd name="T5" fmla="*/ 132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lIns="92939" tIns="46470" rIns="92939" bIns="46470"/>
            <a:lstStyle/>
            <a:p>
              <a:endParaRPr lang="ru-RU"/>
            </a:p>
          </p:txBody>
        </p:sp>
      </p:grpSp>
      <p:grpSp>
        <p:nvGrpSpPr>
          <p:cNvPr id="156" name="McK Slide Elements"/>
          <p:cNvGrpSpPr>
            <a:grpSpLocks/>
          </p:cNvGrpSpPr>
          <p:nvPr/>
        </p:nvGrpSpPr>
        <p:grpSpPr bwMode="auto">
          <a:xfrm>
            <a:off x="125417" y="407194"/>
            <a:ext cx="8793162" cy="4716066"/>
            <a:chOff x="77" y="335"/>
            <a:chExt cx="5429" cy="3882"/>
          </a:xfrm>
        </p:grpSpPr>
        <p:sp>
          <p:nvSpPr>
            <p:cNvPr id="157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203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600" dirty="0" smtClean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8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883"/>
              <a:ext cx="5145" cy="334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9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208590" y="2063029"/>
            <a:ext cx="1729641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60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585247" y="3216147"/>
            <a:ext cx="976229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61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1593" y="4"/>
          <a:ext cx="161925" cy="1214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373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3" y="4"/>
                        <a:ext cx="161925" cy="12144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25458" y="973966"/>
            <a:ext cx="4319587" cy="166199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97441" y="973966"/>
            <a:ext cx="4321175" cy="166199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62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1961960-EB27-451F-8735-C74ED78756F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63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38676312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6350" y="-16669"/>
            <a:ext cx="9145588" cy="180975"/>
            <a:chOff x="-4" y="-14"/>
            <a:chExt cx="5646" cy="149"/>
          </a:xfrm>
        </p:grpSpPr>
        <p:sp>
          <p:nvSpPr>
            <p:cNvPr id="8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4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6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7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7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8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9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0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1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6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2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3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3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4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4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5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6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7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4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8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9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0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1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2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3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4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5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6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7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8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9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0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1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6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6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6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6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7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8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9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1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0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1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2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3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4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5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6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6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7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8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9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0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1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2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4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3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4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6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5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6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6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7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8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9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6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0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1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2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3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4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4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5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6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6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7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8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2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9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0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1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4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2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3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4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5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7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6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4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7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8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9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4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0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1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2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3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4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0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5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6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7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8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9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0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1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2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3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4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5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6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7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8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8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9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6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0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1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4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2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3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7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4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5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6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7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8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9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2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0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1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2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3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4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5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6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7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8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9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0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1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2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5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6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7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8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9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9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0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1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8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2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3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6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4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8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5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6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7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8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0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9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0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1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2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153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534150" y="-15446"/>
            <a:ext cx="2611438" cy="179785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588" tIns="46293" rIns="92588" bIns="46293"/>
          <a:lstStyle/>
          <a:p>
            <a:endParaRPr lang="ru-RU"/>
          </a:p>
        </p:txBody>
      </p:sp>
      <p:sp>
        <p:nvSpPr>
          <p:cNvPr id="154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6307" y="-20235"/>
            <a:ext cx="9174163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90" tIns="45546" rIns="91090" bIns="45546"/>
          <a:lstStyle/>
          <a:p>
            <a:endParaRPr lang="ru-RU"/>
          </a:p>
        </p:txBody>
      </p:sp>
      <p:grpSp>
        <p:nvGrpSpPr>
          <p:cNvPr id="155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4805" y="4962557"/>
            <a:ext cx="9140825" cy="197644"/>
            <a:chOff x="3" y="4085"/>
            <a:chExt cx="5643" cy="163"/>
          </a:xfrm>
        </p:grpSpPr>
        <p:sp>
          <p:nvSpPr>
            <p:cNvPr id="156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203" tIns="46098" rIns="92203" bIns="46098" anchor="ctr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7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2 h 164"/>
                <a:gd name="T4" fmla="*/ 1612 w 1612"/>
                <a:gd name="T5" fmla="*/ 132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lIns="92939" tIns="46470" rIns="92939" bIns="46470"/>
            <a:lstStyle/>
            <a:p>
              <a:endParaRPr lang="ru-RU"/>
            </a:p>
          </p:txBody>
        </p:sp>
      </p:grpSp>
      <p:grpSp>
        <p:nvGrpSpPr>
          <p:cNvPr id="158" name="McK Slide Elements"/>
          <p:cNvGrpSpPr>
            <a:grpSpLocks/>
          </p:cNvGrpSpPr>
          <p:nvPr/>
        </p:nvGrpSpPr>
        <p:grpSpPr bwMode="auto">
          <a:xfrm>
            <a:off x="125417" y="407194"/>
            <a:ext cx="8793162" cy="4716066"/>
            <a:chOff x="77" y="335"/>
            <a:chExt cx="5429" cy="3882"/>
          </a:xfrm>
        </p:grpSpPr>
        <p:sp>
          <p:nvSpPr>
            <p:cNvPr id="159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203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600" dirty="0" smtClean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60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883"/>
              <a:ext cx="5145" cy="334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61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208590" y="2063029"/>
            <a:ext cx="1729641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62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585247" y="3216147"/>
            <a:ext cx="976229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63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1593" y="4"/>
          <a:ext cx="161925" cy="1214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397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3" y="4"/>
                        <a:ext cx="161925" cy="12144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292388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4" y="1261825"/>
            <a:ext cx="4040188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456" indent="0">
              <a:buNone/>
              <a:defRPr sz="2000" b="1"/>
            </a:lvl2pPr>
            <a:lvl3pPr marL="910937" indent="0">
              <a:buNone/>
              <a:defRPr sz="1800" b="1"/>
            </a:lvl3pPr>
            <a:lvl4pPr marL="1366410" indent="0">
              <a:buNone/>
              <a:defRPr sz="1600" b="1"/>
            </a:lvl4pPr>
            <a:lvl5pPr marL="1821879" indent="0">
              <a:buNone/>
              <a:defRPr sz="1600" b="1"/>
            </a:lvl5pPr>
            <a:lvl6pPr marL="2277349" indent="0">
              <a:buNone/>
              <a:defRPr sz="1600" b="1"/>
            </a:lvl6pPr>
            <a:lvl7pPr marL="2732824" indent="0">
              <a:buNone/>
              <a:defRPr sz="1600" b="1"/>
            </a:lvl7pPr>
            <a:lvl8pPr marL="3188288" indent="0">
              <a:buNone/>
              <a:defRPr sz="1600" b="1"/>
            </a:lvl8pPr>
            <a:lvl9pPr marL="3643758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4" y="1631156"/>
            <a:ext cx="4040188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70" y="1261825"/>
            <a:ext cx="4041775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456" indent="0">
              <a:buNone/>
              <a:defRPr sz="2000" b="1"/>
            </a:lvl2pPr>
            <a:lvl3pPr marL="910937" indent="0">
              <a:buNone/>
              <a:defRPr sz="1800" b="1"/>
            </a:lvl3pPr>
            <a:lvl4pPr marL="1366410" indent="0">
              <a:buNone/>
              <a:defRPr sz="1600" b="1"/>
            </a:lvl4pPr>
            <a:lvl5pPr marL="1821879" indent="0">
              <a:buNone/>
              <a:defRPr sz="1600" b="1"/>
            </a:lvl5pPr>
            <a:lvl6pPr marL="2277349" indent="0">
              <a:buNone/>
              <a:defRPr sz="1600" b="1"/>
            </a:lvl6pPr>
            <a:lvl7pPr marL="2732824" indent="0">
              <a:buNone/>
              <a:defRPr sz="1600" b="1"/>
            </a:lvl7pPr>
            <a:lvl8pPr marL="3188288" indent="0">
              <a:buNone/>
              <a:defRPr sz="1600" b="1"/>
            </a:lvl8pPr>
            <a:lvl9pPr marL="3643758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70" y="1631156"/>
            <a:ext cx="4041775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64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A64294-FF8F-455A-A144-73E49A4F44A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65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33907002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6350" y="-16669"/>
            <a:ext cx="9145588" cy="180975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4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7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6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3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4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4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6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6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6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1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6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4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6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6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6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4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6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2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4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7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4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4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0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8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6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4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7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2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9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8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6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8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0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534150" y="-15446"/>
            <a:ext cx="2611438" cy="179785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588" tIns="46293" rIns="92588" bIns="46293"/>
          <a:lstStyle/>
          <a:p>
            <a:endParaRPr lang="ru-RU"/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6307" y="-20235"/>
            <a:ext cx="9174163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90" tIns="45546" rIns="91090" bIns="45546"/>
          <a:lstStyle/>
          <a:p>
            <a:endParaRPr lang="ru-RU"/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4805" y="4962557"/>
            <a:ext cx="9140825" cy="197644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203" tIns="46098" rIns="92203" bIns="46098" anchor="ctr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2 h 164"/>
                <a:gd name="T4" fmla="*/ 1612 w 1612"/>
                <a:gd name="T5" fmla="*/ 132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lIns="92939" tIns="46470" rIns="92939" bIns="46470"/>
            <a:lstStyle/>
            <a:p>
              <a:endParaRPr lang="ru-RU"/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125417" y="407194"/>
            <a:ext cx="8793162" cy="4716066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203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600" dirty="0" smtClean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883"/>
              <a:ext cx="5145" cy="334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208590" y="2063029"/>
            <a:ext cx="1729641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585247" y="3216147"/>
            <a:ext cx="976229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1593" y="4"/>
          <a:ext cx="161925" cy="1214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421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3" y="4"/>
                        <a:ext cx="161925" cy="12144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061445-558A-4D6B-914E-CF476B0AF8A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28327979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6350" y="-16669"/>
            <a:ext cx="9145588" cy="180975"/>
            <a:chOff x="-4" y="-14"/>
            <a:chExt cx="5646" cy="149"/>
          </a:xfrm>
        </p:grpSpPr>
        <p:sp>
          <p:nvSpPr>
            <p:cNvPr id="3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4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7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6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6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7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3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8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9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4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0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1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2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4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3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4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5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6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7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8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9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0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1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2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3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4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5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6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6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7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8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6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9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0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1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6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1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6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7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8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9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0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1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6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2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3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4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5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6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7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4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8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9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6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0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1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6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2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3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4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6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5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6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7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8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9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4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0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1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6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2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3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2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4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5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6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4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7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8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9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0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7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1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4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2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3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4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4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5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6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7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8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9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0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0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1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2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3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4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5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6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7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8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9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0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1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2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8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3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4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6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5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6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4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7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8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7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9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0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1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2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3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4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2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5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6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7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8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9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0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1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2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3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4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5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6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7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8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9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0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1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2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9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5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6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8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7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8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6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9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8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0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1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2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3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0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4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5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6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7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148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534150" y="-15446"/>
            <a:ext cx="2611438" cy="179785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588" tIns="46293" rIns="92588" bIns="46293"/>
          <a:lstStyle/>
          <a:p>
            <a:endParaRPr lang="ru-RU"/>
          </a:p>
        </p:txBody>
      </p:sp>
      <p:sp>
        <p:nvSpPr>
          <p:cNvPr id="149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6307" y="-20235"/>
            <a:ext cx="9174163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90" tIns="45546" rIns="91090" bIns="45546"/>
          <a:lstStyle/>
          <a:p>
            <a:endParaRPr lang="ru-RU"/>
          </a:p>
        </p:txBody>
      </p:sp>
      <p:grpSp>
        <p:nvGrpSpPr>
          <p:cNvPr id="150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4805" y="4962557"/>
            <a:ext cx="9140825" cy="197644"/>
            <a:chOff x="3" y="4085"/>
            <a:chExt cx="5643" cy="163"/>
          </a:xfrm>
        </p:grpSpPr>
        <p:sp>
          <p:nvSpPr>
            <p:cNvPr id="151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203" tIns="46098" rIns="92203" bIns="46098" anchor="ctr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2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2 h 164"/>
                <a:gd name="T4" fmla="*/ 1612 w 1612"/>
                <a:gd name="T5" fmla="*/ 132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lIns="92939" tIns="46470" rIns="92939" bIns="46470"/>
            <a:lstStyle/>
            <a:p>
              <a:endParaRPr lang="ru-RU"/>
            </a:p>
          </p:txBody>
        </p:sp>
      </p:grpSp>
      <p:grpSp>
        <p:nvGrpSpPr>
          <p:cNvPr id="153" name="McK Slide Elements"/>
          <p:cNvGrpSpPr>
            <a:grpSpLocks/>
          </p:cNvGrpSpPr>
          <p:nvPr/>
        </p:nvGrpSpPr>
        <p:grpSpPr bwMode="auto">
          <a:xfrm>
            <a:off x="125417" y="407194"/>
            <a:ext cx="8793162" cy="4716066"/>
            <a:chOff x="77" y="335"/>
            <a:chExt cx="5429" cy="3882"/>
          </a:xfrm>
        </p:grpSpPr>
        <p:sp>
          <p:nvSpPr>
            <p:cNvPr id="154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203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600" dirty="0" smtClean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5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883"/>
              <a:ext cx="5145" cy="334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6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208590" y="2063029"/>
            <a:ext cx="1729641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7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585247" y="3216147"/>
            <a:ext cx="976229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8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1593" y="4"/>
          <a:ext cx="161925" cy="1214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445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3" y="4"/>
                        <a:ext cx="161925" cy="12144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9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B64F7B-D345-4E07-8A62-5704BB4DBE8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60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31451794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6350" y="-16669"/>
            <a:ext cx="9145588" cy="180975"/>
            <a:chOff x="-4" y="-14"/>
            <a:chExt cx="5646" cy="149"/>
          </a:xfrm>
        </p:grpSpPr>
        <p:sp>
          <p:nvSpPr>
            <p:cNvPr id="6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4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7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6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7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8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9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6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0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3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1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2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4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3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4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5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4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6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7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8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9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0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1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2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3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4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5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6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7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8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9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6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0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1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6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6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6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7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1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8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9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0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1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2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3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4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6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5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6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7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8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9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0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4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1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2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6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3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4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6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5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6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7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6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8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9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0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1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2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4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3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4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6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5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6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2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7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8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9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4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0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1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2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3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7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4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4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5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6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7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4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8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9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0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1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2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0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3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4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5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6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7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8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9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0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1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2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3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4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5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8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6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7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6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8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9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4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0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1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7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2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3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4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5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6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7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2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8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9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0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1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2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3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4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5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6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7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8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9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0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1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2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5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6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9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7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8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9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8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0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1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6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2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8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3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4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5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6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0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7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8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9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0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151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534150" y="-15446"/>
            <a:ext cx="2611438" cy="179785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588" tIns="46293" rIns="92588" bIns="46293"/>
          <a:lstStyle/>
          <a:p>
            <a:endParaRPr lang="ru-RU"/>
          </a:p>
        </p:txBody>
      </p:sp>
      <p:sp>
        <p:nvSpPr>
          <p:cNvPr id="152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6307" y="-20235"/>
            <a:ext cx="9174163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90" tIns="45546" rIns="91090" bIns="45546"/>
          <a:lstStyle/>
          <a:p>
            <a:endParaRPr lang="ru-RU"/>
          </a:p>
        </p:txBody>
      </p:sp>
      <p:grpSp>
        <p:nvGrpSpPr>
          <p:cNvPr id="153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4805" y="4962557"/>
            <a:ext cx="9140825" cy="197644"/>
            <a:chOff x="3" y="4085"/>
            <a:chExt cx="5643" cy="163"/>
          </a:xfrm>
        </p:grpSpPr>
        <p:sp>
          <p:nvSpPr>
            <p:cNvPr id="154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203" tIns="46098" rIns="92203" bIns="46098" anchor="ctr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5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2 h 164"/>
                <a:gd name="T4" fmla="*/ 1612 w 1612"/>
                <a:gd name="T5" fmla="*/ 132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lIns="92939" tIns="46470" rIns="92939" bIns="46470"/>
            <a:lstStyle/>
            <a:p>
              <a:endParaRPr lang="ru-RU"/>
            </a:p>
          </p:txBody>
        </p:sp>
      </p:grpSp>
      <p:grpSp>
        <p:nvGrpSpPr>
          <p:cNvPr id="156" name="McK Slide Elements"/>
          <p:cNvGrpSpPr>
            <a:grpSpLocks/>
          </p:cNvGrpSpPr>
          <p:nvPr/>
        </p:nvGrpSpPr>
        <p:grpSpPr bwMode="auto">
          <a:xfrm>
            <a:off x="125417" y="407194"/>
            <a:ext cx="8793162" cy="4716066"/>
            <a:chOff x="77" y="335"/>
            <a:chExt cx="5429" cy="3882"/>
          </a:xfrm>
        </p:grpSpPr>
        <p:sp>
          <p:nvSpPr>
            <p:cNvPr id="157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203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600" dirty="0" smtClean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8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883"/>
              <a:ext cx="5145" cy="334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9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208590" y="2063029"/>
            <a:ext cx="1729641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60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585247" y="3216147"/>
            <a:ext cx="976229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61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1593" y="4"/>
          <a:ext cx="161925" cy="1214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469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3" y="4"/>
                        <a:ext cx="161925" cy="12144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45" y="768551"/>
            <a:ext cx="300831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04818"/>
            <a:ext cx="5111750" cy="19082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45" y="1076325"/>
            <a:ext cx="300831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5456" indent="0">
              <a:buNone/>
              <a:defRPr sz="1200"/>
            </a:lvl2pPr>
            <a:lvl3pPr marL="910937" indent="0">
              <a:buNone/>
              <a:defRPr sz="1000"/>
            </a:lvl3pPr>
            <a:lvl4pPr marL="1366410" indent="0">
              <a:buNone/>
              <a:defRPr sz="900"/>
            </a:lvl4pPr>
            <a:lvl5pPr marL="1821879" indent="0">
              <a:buNone/>
              <a:defRPr sz="900"/>
            </a:lvl5pPr>
            <a:lvl6pPr marL="2277349" indent="0">
              <a:buNone/>
              <a:defRPr sz="900"/>
            </a:lvl6pPr>
            <a:lvl7pPr marL="2732824" indent="0">
              <a:buNone/>
              <a:defRPr sz="900"/>
            </a:lvl7pPr>
            <a:lvl8pPr marL="3188288" indent="0">
              <a:buNone/>
              <a:defRPr sz="900"/>
            </a:lvl8pPr>
            <a:lvl9pPr marL="3643758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2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77F140-B81C-4356-8844-40EEF5CD637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63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13661204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6350" y="-16669"/>
            <a:ext cx="9145588" cy="180975"/>
            <a:chOff x="-4" y="-14"/>
            <a:chExt cx="5646" cy="149"/>
          </a:xfrm>
        </p:grpSpPr>
        <p:sp>
          <p:nvSpPr>
            <p:cNvPr id="6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4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7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6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7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8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9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6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0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3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1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2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4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3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4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5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4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6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7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8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9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0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1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2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3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4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5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6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7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8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9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6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0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1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6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6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6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7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1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8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9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0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1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2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3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4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6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5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6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7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8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9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0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4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1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2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6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3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4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6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5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6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7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6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8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9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0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1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2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4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3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4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6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5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6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2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7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8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9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4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0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1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2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3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7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4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4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5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6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7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4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8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9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0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1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2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0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3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4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5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6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7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8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9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0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1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2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3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4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5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8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6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7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6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8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9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4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0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1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7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2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3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4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5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6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7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2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8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9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0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1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2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3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4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5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6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7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8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9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0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1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2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5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6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9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7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8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9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8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0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1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6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2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8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3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4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5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6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0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7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8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9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0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151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534150" y="-15446"/>
            <a:ext cx="2611438" cy="179785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588" tIns="46293" rIns="92588" bIns="46293"/>
          <a:lstStyle/>
          <a:p>
            <a:endParaRPr lang="ru-RU"/>
          </a:p>
        </p:txBody>
      </p:sp>
      <p:sp>
        <p:nvSpPr>
          <p:cNvPr id="152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6307" y="-20235"/>
            <a:ext cx="9174163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90" tIns="45546" rIns="91090" bIns="45546"/>
          <a:lstStyle/>
          <a:p>
            <a:endParaRPr lang="ru-RU"/>
          </a:p>
        </p:txBody>
      </p:sp>
      <p:grpSp>
        <p:nvGrpSpPr>
          <p:cNvPr id="153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4805" y="4962557"/>
            <a:ext cx="9140825" cy="197644"/>
            <a:chOff x="3" y="4085"/>
            <a:chExt cx="5643" cy="163"/>
          </a:xfrm>
        </p:grpSpPr>
        <p:sp>
          <p:nvSpPr>
            <p:cNvPr id="154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203" tIns="46098" rIns="92203" bIns="46098" anchor="ctr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5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2 h 164"/>
                <a:gd name="T4" fmla="*/ 1612 w 1612"/>
                <a:gd name="T5" fmla="*/ 132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lIns="92939" tIns="46470" rIns="92939" bIns="46470"/>
            <a:lstStyle/>
            <a:p>
              <a:endParaRPr lang="ru-RU"/>
            </a:p>
          </p:txBody>
        </p:sp>
      </p:grpSp>
      <p:grpSp>
        <p:nvGrpSpPr>
          <p:cNvPr id="156" name="McK Slide Elements"/>
          <p:cNvGrpSpPr>
            <a:grpSpLocks/>
          </p:cNvGrpSpPr>
          <p:nvPr/>
        </p:nvGrpSpPr>
        <p:grpSpPr bwMode="auto">
          <a:xfrm>
            <a:off x="125417" y="407194"/>
            <a:ext cx="8793162" cy="4716066"/>
            <a:chOff x="77" y="335"/>
            <a:chExt cx="5429" cy="3882"/>
          </a:xfrm>
        </p:grpSpPr>
        <p:sp>
          <p:nvSpPr>
            <p:cNvPr id="157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203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600" dirty="0" smtClean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8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883"/>
              <a:ext cx="5145" cy="334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9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208590" y="2063029"/>
            <a:ext cx="1729641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60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585247" y="3216147"/>
            <a:ext cx="976229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61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1593" y="4"/>
          <a:ext cx="161925" cy="1214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493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3" y="4"/>
                        <a:ext cx="161925" cy="12144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9" y="3717727"/>
            <a:ext cx="548640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9" y="459614"/>
            <a:ext cx="5486400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5456" indent="0">
              <a:buNone/>
              <a:defRPr sz="2800"/>
            </a:lvl2pPr>
            <a:lvl3pPr marL="910937" indent="0">
              <a:buNone/>
              <a:defRPr sz="2400"/>
            </a:lvl3pPr>
            <a:lvl4pPr marL="1366410" indent="0">
              <a:buNone/>
              <a:defRPr sz="2000"/>
            </a:lvl4pPr>
            <a:lvl5pPr marL="1821879" indent="0">
              <a:buNone/>
              <a:defRPr sz="2000"/>
            </a:lvl5pPr>
            <a:lvl6pPr marL="2277349" indent="0">
              <a:buNone/>
              <a:defRPr sz="2000"/>
            </a:lvl6pPr>
            <a:lvl7pPr marL="2732824" indent="0">
              <a:buNone/>
              <a:defRPr sz="2000"/>
            </a:lvl7pPr>
            <a:lvl8pPr marL="3188288" indent="0">
              <a:buNone/>
              <a:defRPr sz="2000"/>
            </a:lvl8pPr>
            <a:lvl9pPr marL="3643758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9" y="4025504"/>
            <a:ext cx="548640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5456" indent="0">
              <a:buNone/>
              <a:defRPr sz="1200"/>
            </a:lvl2pPr>
            <a:lvl3pPr marL="910937" indent="0">
              <a:buNone/>
              <a:defRPr sz="1000"/>
            </a:lvl3pPr>
            <a:lvl4pPr marL="1366410" indent="0">
              <a:buNone/>
              <a:defRPr sz="900"/>
            </a:lvl4pPr>
            <a:lvl5pPr marL="1821879" indent="0">
              <a:buNone/>
              <a:defRPr sz="900"/>
            </a:lvl5pPr>
            <a:lvl6pPr marL="2277349" indent="0">
              <a:buNone/>
              <a:defRPr sz="900"/>
            </a:lvl6pPr>
            <a:lvl7pPr marL="2732824" indent="0">
              <a:buNone/>
              <a:defRPr sz="900"/>
            </a:lvl7pPr>
            <a:lvl8pPr marL="3188288" indent="0">
              <a:buNone/>
              <a:defRPr sz="900"/>
            </a:lvl8pPr>
            <a:lvl9pPr marL="3643758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2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98FF4B1-A39F-4AA9-8536-4B133439641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63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1825157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4.xml"/><Relationship Id="rId26" Type="http://schemas.openxmlformats.org/officeDocument/2006/relationships/tags" Target="../tags/tag12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7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5" Type="http://schemas.openxmlformats.org/officeDocument/2006/relationships/tags" Target="../tags/tag11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tags" Target="../tags/tag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0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23" Type="http://schemas.openxmlformats.org/officeDocument/2006/relationships/tags" Target="../tags/tag9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Relationship Id="rId22" Type="http://schemas.openxmlformats.org/officeDocument/2006/relationships/tags" Target="../tags/tag8.xml"/><Relationship Id="rId27" Type="http://schemas.openxmlformats.org/officeDocument/2006/relationships/tags" Target="../tags/tag1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tags" Target="../tags/tag146.xml"/><Relationship Id="rId26" Type="http://schemas.openxmlformats.org/officeDocument/2006/relationships/tags" Target="../tags/tag154.xml"/><Relationship Id="rId3" Type="http://schemas.openxmlformats.org/officeDocument/2006/relationships/slideLayout" Target="../slideLayouts/slideLayout16.xml"/><Relationship Id="rId21" Type="http://schemas.openxmlformats.org/officeDocument/2006/relationships/tags" Target="../tags/tag149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tags" Target="../tags/tag145.xml"/><Relationship Id="rId25" Type="http://schemas.openxmlformats.org/officeDocument/2006/relationships/tags" Target="../tags/tag153.xml"/><Relationship Id="rId2" Type="http://schemas.openxmlformats.org/officeDocument/2006/relationships/slideLayout" Target="../slideLayouts/slideLayout15.xml"/><Relationship Id="rId16" Type="http://schemas.openxmlformats.org/officeDocument/2006/relationships/tags" Target="../tags/tag144.xml"/><Relationship Id="rId20" Type="http://schemas.openxmlformats.org/officeDocument/2006/relationships/tags" Target="../tags/tag148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24" Type="http://schemas.openxmlformats.org/officeDocument/2006/relationships/tags" Target="../tags/tag152.xml"/><Relationship Id="rId5" Type="http://schemas.openxmlformats.org/officeDocument/2006/relationships/slideLayout" Target="../slideLayouts/slideLayout18.xml"/><Relationship Id="rId15" Type="http://schemas.openxmlformats.org/officeDocument/2006/relationships/vmlDrawing" Target="../drawings/vmlDrawing15.vml"/><Relationship Id="rId23" Type="http://schemas.openxmlformats.org/officeDocument/2006/relationships/tags" Target="../tags/tag151.xml"/><Relationship Id="rId28" Type="http://schemas.openxmlformats.org/officeDocument/2006/relationships/oleObject" Target="../embeddings/oleObject15.bin"/><Relationship Id="rId10" Type="http://schemas.openxmlformats.org/officeDocument/2006/relationships/slideLayout" Target="../slideLayouts/slideLayout23.xml"/><Relationship Id="rId19" Type="http://schemas.openxmlformats.org/officeDocument/2006/relationships/tags" Target="../tags/tag147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heme" Target="../theme/theme2.xml"/><Relationship Id="rId22" Type="http://schemas.openxmlformats.org/officeDocument/2006/relationships/tags" Target="../tags/tag150.xml"/><Relationship Id="rId27" Type="http://schemas.openxmlformats.org/officeDocument/2006/relationships/tags" Target="../tags/tag15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314" name="Group 343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-6350" y="-16669"/>
            <a:ext cx="9145588" cy="180975"/>
            <a:chOff x="-4" y="-14"/>
            <a:chExt cx="5646" cy="149"/>
          </a:xfrm>
        </p:grpSpPr>
        <p:sp>
          <p:nvSpPr>
            <p:cNvPr id="13330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31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32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33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34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35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36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4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37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38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39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7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40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41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42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43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6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44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3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45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46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4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47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48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49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4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50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51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52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53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54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55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56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57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58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59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60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61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62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63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6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64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65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6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66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67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68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6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69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70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71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1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72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73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74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75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76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77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78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6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79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80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81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82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83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84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4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85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86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6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87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88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6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89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90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91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6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92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93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94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95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96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4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97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98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6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99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00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2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01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02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03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4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04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05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06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07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7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08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4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09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10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11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4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12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13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14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15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16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0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17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18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19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20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21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22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23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24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25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26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27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28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29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8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30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31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6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32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33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4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34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35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7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36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37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38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39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40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41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2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42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43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44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45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46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47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48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49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50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51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52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53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54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55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56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57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58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59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60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9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61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62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63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8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64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65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6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66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8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67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68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69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70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0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71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72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73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74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13315" name="Freeform 353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6534150" y="-15446"/>
            <a:ext cx="2611438" cy="179785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588" tIns="46293" rIns="92588" bIns="46293"/>
          <a:lstStyle/>
          <a:p>
            <a:endParaRPr lang="ru-RU"/>
          </a:p>
        </p:txBody>
      </p:sp>
      <p:sp>
        <p:nvSpPr>
          <p:cNvPr id="13316" name="AutoShape 196"/>
          <p:cNvSpPr>
            <a:spLocks noChangeAspect="1" noChangeArrowheads="1" noTextEdit="1"/>
          </p:cNvSpPr>
          <p:nvPr>
            <p:custDataLst>
              <p:tags r:id="rId18"/>
            </p:custDataLst>
          </p:nvPr>
        </p:nvSpPr>
        <p:spPr bwMode="auto">
          <a:xfrm>
            <a:off x="-6307" y="-20235"/>
            <a:ext cx="9174163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90" tIns="45546" rIns="91090" bIns="45546"/>
          <a:lstStyle/>
          <a:p>
            <a:endParaRPr lang="ru-RU"/>
          </a:p>
        </p:txBody>
      </p:sp>
      <p:grpSp>
        <p:nvGrpSpPr>
          <p:cNvPr id="13317" name="Group 355"/>
          <p:cNvGrpSpPr>
            <a:grpSpLocks/>
          </p:cNvGrpSpPr>
          <p:nvPr>
            <p:custDataLst>
              <p:tags r:id="rId19"/>
            </p:custDataLst>
          </p:nvPr>
        </p:nvGrpSpPr>
        <p:grpSpPr bwMode="auto">
          <a:xfrm>
            <a:off x="4805" y="4962557"/>
            <a:ext cx="9140825" cy="197644"/>
            <a:chOff x="3" y="4085"/>
            <a:chExt cx="5643" cy="163"/>
          </a:xfrm>
        </p:grpSpPr>
        <p:sp>
          <p:nvSpPr>
            <p:cNvPr id="13328" name="Rectangle 36"/>
            <p:cNvSpPr>
              <a:spLocks noChangeArrowheads="1"/>
            </p:cNvSpPr>
            <p:nvPr userDrawn="1">
              <p:custDataLst>
                <p:tags r:id="rId27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203" tIns="46098" rIns="92203" bIns="46098" anchor="ctr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29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2 h 164"/>
                <a:gd name="T4" fmla="*/ 1612 w 1612"/>
                <a:gd name="T5" fmla="*/ 132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lIns="92939" tIns="46470" rIns="92939" bIns="46470"/>
            <a:lstStyle/>
            <a:p>
              <a:endParaRPr lang="ru-RU"/>
            </a:p>
          </p:txBody>
        </p:sp>
      </p:grpSp>
      <p:sp>
        <p:nvSpPr>
          <p:cNvPr id="1030" name="pg num"/>
          <p:cNvSpPr>
            <a:spLocks noGrp="1" noChangeArrowheads="1"/>
          </p:cNvSpPr>
          <p:nvPr>
            <p:ph type="sldNum" sz="quarter" idx="4"/>
            <p:custDataLst>
              <p:tags r:id="rId20"/>
            </p:custDataLst>
          </p:nvPr>
        </p:nvSpPr>
        <p:spPr bwMode="auto">
          <a:xfrm>
            <a:off x="7010400" y="4995894"/>
            <a:ext cx="190500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1200" b="1">
                <a:solidFill>
                  <a:srgbClr val="FFFFFF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9C4AFA9A-C296-4238-9560-00839A3049E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3319" name="Rectangle 2"/>
          <p:cNvSpPr>
            <a:spLocks noGrp="1" noChangeArrowheads="1"/>
          </p:cNvSpPr>
          <p:nvPr>
            <p:ph type="title"/>
            <p:custDataLst>
              <p:tags r:id="rId21"/>
            </p:custDataLst>
          </p:nvPr>
        </p:nvSpPr>
        <p:spPr bwMode="auto">
          <a:xfrm>
            <a:off x="122238" y="176220"/>
            <a:ext cx="8793162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3320" name="Rectangle 3"/>
          <p:cNvSpPr>
            <a:spLocks noGrp="1" noChangeArrowheads="1"/>
          </p:cNvSpPr>
          <p:nvPr>
            <p:ph type="body" idx="1"/>
            <p:custDataLst>
              <p:tags r:id="rId22"/>
            </p:custDataLst>
          </p:nvPr>
        </p:nvSpPr>
        <p:spPr bwMode="auto">
          <a:xfrm>
            <a:off x="125417" y="973934"/>
            <a:ext cx="8793162" cy="123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grpSp>
        <p:nvGrpSpPr>
          <p:cNvPr id="13321" name="McK Slide Elements"/>
          <p:cNvGrpSpPr>
            <a:grpSpLocks/>
          </p:cNvGrpSpPr>
          <p:nvPr/>
        </p:nvGrpSpPr>
        <p:grpSpPr bwMode="auto">
          <a:xfrm>
            <a:off x="125417" y="407194"/>
            <a:ext cx="8793162" cy="4716066"/>
            <a:chOff x="77" y="335"/>
            <a:chExt cx="5429" cy="3882"/>
          </a:xfrm>
        </p:grpSpPr>
        <p:sp>
          <p:nvSpPr>
            <p:cNvPr id="1038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203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600" dirty="0" smtClean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039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883"/>
              <a:ext cx="5145" cy="334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4" name="Working Draft" hidden="1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 rot="5400000">
            <a:off x="8208590" y="2063029"/>
            <a:ext cx="1729641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5" name="Printed" hidden="1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 rot="5400000">
            <a:off x="8585247" y="3216147"/>
            <a:ext cx="976229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sp>
        <p:nvSpPr>
          <p:cNvPr id="2" name="doc id"/>
          <p:cNvSpPr>
            <a:spLocks noGrp="1" noChangeArrowheads="1"/>
          </p:cNvSpPr>
          <p:nvPr>
            <p:ph type="ftr" sz="quarter" idx="3"/>
            <p:custDataLst>
              <p:tags r:id="rId25"/>
            </p:custDataLst>
          </p:nvPr>
        </p:nvSpPr>
        <p:spPr bwMode="auto">
          <a:xfrm>
            <a:off x="150824" y="27421"/>
            <a:ext cx="1806585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800" b="1">
                <a:solidFill>
                  <a:srgbClr val="FFFFFF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  <p:graphicFrame>
        <p:nvGraphicFramePr>
          <p:cNvPr id="13325" name="AutoShape 218"/>
          <p:cNvGraphicFramePr>
            <a:graphicFrameLocks/>
          </p:cNvGraphicFramePr>
          <p:nvPr>
            <p:custDataLst>
              <p:tags r:id="rId26"/>
            </p:custDataLst>
          </p:nvPr>
        </p:nvGraphicFramePr>
        <p:xfrm>
          <a:off x="1593" y="4"/>
          <a:ext cx="161925" cy="1214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72" name="think-cell Slide" r:id="rId28" imgW="0" imgH="0" progId="TCLayout.ActiveDocument.1">
                  <p:embed/>
                </p:oleObj>
              </mc:Choice>
              <mc:Fallback>
                <p:oleObj name="think-cell Slide" r:id="rId28" imgW="0" imgH="0" progId="TCLayout.ActiveDocument.1">
                  <p:embed/>
                  <p:pic>
                    <p:nvPicPr>
                      <p:cNvPr id="0" name="AutoShape 218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3" y="4"/>
                        <a:ext cx="161925" cy="12144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6543" r:id="rId1"/>
    <p:sldLayoutId id="2147486544" r:id="rId2"/>
    <p:sldLayoutId id="2147486545" r:id="rId3"/>
    <p:sldLayoutId id="2147486546" r:id="rId4"/>
    <p:sldLayoutId id="2147486547" r:id="rId5"/>
    <p:sldLayoutId id="2147486548" r:id="rId6"/>
    <p:sldLayoutId id="2147486549" r:id="rId7"/>
    <p:sldLayoutId id="2147486550" r:id="rId8"/>
    <p:sldLayoutId id="2147486551" r:id="rId9"/>
    <p:sldLayoutId id="2147486552" r:id="rId10"/>
    <p:sldLayoutId id="2147486553" r:id="rId11"/>
    <p:sldLayoutId id="2147486554" r:id="rId12"/>
    <p:sldLayoutId id="2147486555" r:id="rId13"/>
  </p:sldLayoutIdLst>
  <p:hf sldNum="0" hdr="0" ftr="0" dt="0"/>
  <p:txStyles>
    <p:titleStyle>
      <a:lvl1pPr algn="l" defTabSz="907928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07928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07928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07928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07928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5456" algn="l" defTabSz="909357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0937" algn="l" defTabSz="909357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66410" algn="l" defTabSz="909357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1879" algn="l" defTabSz="909357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6402" indent="-346402" algn="l" defTabSz="907928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45522" indent="-143938" algn="l" defTabSz="907928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</a:defRPr>
      </a:lvl2pPr>
      <a:lvl3pPr marL="298955" indent="-150272" algn="l" defTabSz="907928" rtl="0" eaLnBrk="0" fontAlgn="base" hangingPunct="0">
        <a:spcBef>
          <a:spcPct val="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3pPr>
      <a:lvl4pPr marL="438144" indent="-136036" algn="l" defTabSz="907928" rtl="0" eaLnBrk="0" fontAlgn="base" hangingPunct="0">
        <a:spcBef>
          <a:spcPct val="0"/>
        </a:spcBef>
        <a:spcAft>
          <a:spcPct val="0"/>
        </a:spcAft>
        <a:buSzPct val="89000"/>
        <a:buChar char="•"/>
        <a:defRPr sz="1600">
          <a:solidFill>
            <a:schemeClr val="tx1"/>
          </a:solidFill>
          <a:latin typeface="+mn-lt"/>
        </a:defRPr>
      </a:lvl4pPr>
      <a:lvl5pPr marL="590011" indent="-148685" algn="l" defTabSz="907928" rtl="0" eaLnBrk="0" fontAlgn="base" hangingPunct="0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5pPr>
      <a:lvl6pPr marL="1046961" indent="-150246" algn="l" defTabSz="909357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6pPr>
      <a:lvl7pPr marL="1502408" indent="-150246" algn="l" defTabSz="909357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7pPr>
      <a:lvl8pPr marL="1957880" indent="-150246" algn="l" defTabSz="909357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8pPr>
      <a:lvl9pPr marL="2413358" indent="-150246" algn="l" defTabSz="909357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09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456" algn="l" defTabSz="9109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0937" algn="l" defTabSz="9109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6410" algn="l" defTabSz="9109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1879" algn="l" defTabSz="9109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7349" algn="l" defTabSz="9109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2824" algn="l" defTabSz="9109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8288" algn="l" defTabSz="9109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3758" algn="l" defTabSz="9109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8" name="Group 343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-6990" y="-16883"/>
            <a:ext cx="9146796" cy="181205"/>
            <a:chOff x="-4" y="-14"/>
            <a:chExt cx="5646" cy="149"/>
          </a:xfrm>
        </p:grpSpPr>
        <p:sp>
          <p:nvSpPr>
            <p:cNvPr id="1042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43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44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45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46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47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48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3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49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9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50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6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51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6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2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3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54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55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7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56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2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57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58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3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59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1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60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61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3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62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6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63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64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8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65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66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67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6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68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69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6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70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8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71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2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72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73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74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75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7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76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77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8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78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79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80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8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81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82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83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2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84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4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85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6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86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41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87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88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89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4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90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7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91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92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93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94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95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96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2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97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98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8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99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00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7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01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02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03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7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04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41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05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06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07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6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08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2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09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5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10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7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11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12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5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13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14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6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15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3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16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17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18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19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8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20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3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21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6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22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23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3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24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25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26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6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27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4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28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8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29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30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31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32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33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34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35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1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36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37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38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39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40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1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41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41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42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43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7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44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45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2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46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47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8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48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8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49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50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51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52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53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3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54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55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56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57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58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59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60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61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62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63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64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65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66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67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68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69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70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71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72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8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73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6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74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75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7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76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77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7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78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7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79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80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81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82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1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83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84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85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86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</p:grpSp>
      <p:sp>
        <p:nvSpPr>
          <p:cNvPr id="1027" name="Freeform 353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6534025" y="-15750"/>
            <a:ext cx="2611373" cy="180079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round/>
            <a:headEnd/>
            <a:tailEnd/>
          </a:ln>
        </p:spPr>
        <p:txBody>
          <a:bodyPr lIns="84095" tIns="42054" rIns="84095" bIns="42054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7" name="AutoShape 196"/>
          <p:cNvSpPr>
            <a:spLocks noChangeAspect="1" noChangeArrowheads="1" noTextEdit="1"/>
          </p:cNvSpPr>
          <p:nvPr>
            <p:custDataLst>
              <p:tags r:id="rId18"/>
            </p:custDataLst>
          </p:nvPr>
        </p:nvSpPr>
        <p:spPr bwMode="auto">
          <a:xfrm>
            <a:off x="-6966" y="-20256"/>
            <a:ext cx="9174755" cy="193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2779" tIns="41395" rIns="82779" bIns="41395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>
              <a:solidFill>
                <a:srgbClr val="000000"/>
              </a:solidFill>
              <a:latin typeface="Arial" charset="0"/>
            </a:endParaRPr>
          </a:p>
        </p:txBody>
      </p:sp>
      <p:grpSp>
        <p:nvGrpSpPr>
          <p:cNvPr id="1031" name="Group 355"/>
          <p:cNvGrpSpPr>
            <a:grpSpLocks/>
          </p:cNvGrpSpPr>
          <p:nvPr>
            <p:custDataLst>
              <p:tags r:id="rId19"/>
            </p:custDataLst>
          </p:nvPr>
        </p:nvGrpSpPr>
        <p:grpSpPr bwMode="auto">
          <a:xfrm>
            <a:off x="4198" y="4962296"/>
            <a:ext cx="9141203" cy="198087"/>
            <a:chOff x="3" y="4085"/>
            <a:chExt cx="5643" cy="163"/>
          </a:xfrm>
        </p:grpSpPr>
        <p:sp>
          <p:nvSpPr>
            <p:cNvPr id="1040" name="Rectangle 36"/>
            <p:cNvSpPr>
              <a:spLocks noChangeArrowheads="1"/>
            </p:cNvSpPr>
            <p:nvPr userDrawn="1">
              <p:custDataLst>
                <p:tags r:id="rId27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102186" tIns="51096" rIns="102186" bIns="51096" anchor="ctr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41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56 h 164"/>
                <a:gd name="T4" fmla="*/ 1612 w 1612"/>
                <a:gd name="T5" fmla="*/ 156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</p:spPr>
          <p:txBody>
            <a:bodyPr rot="10800000" lIns="92891" tIns="46449" rIns="92891" bIns="46449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1030" name="pg num"/>
          <p:cNvSpPr>
            <a:spLocks noGrp="1" noChangeArrowheads="1"/>
          </p:cNvSpPr>
          <p:nvPr>
            <p:ph type="sldNum" sz="quarter" idx="4"/>
            <p:custDataLst>
              <p:tags r:id="rId20"/>
            </p:custDataLst>
          </p:nvPr>
        </p:nvSpPr>
        <p:spPr bwMode="auto">
          <a:xfrm>
            <a:off x="7010727" y="4996064"/>
            <a:ext cx="190401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1200" b="1">
                <a:solidFill>
                  <a:schemeClr val="bg2"/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189576AD-9E96-4D29-BD87-D7E1B0AE1714}" type="slidenum">
              <a:rPr lang="ru-RU" smtClean="0">
                <a:solidFill>
                  <a:srgbClr val="FFFFFF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033" name="Rectangle 2"/>
          <p:cNvSpPr>
            <a:spLocks noGrp="1" noChangeArrowheads="1"/>
          </p:cNvSpPr>
          <p:nvPr>
            <p:ph type="title"/>
            <p:custDataLst>
              <p:tags r:id="rId21"/>
            </p:custDataLst>
          </p:nvPr>
        </p:nvSpPr>
        <p:spPr bwMode="auto">
          <a:xfrm>
            <a:off x="121623" y="176718"/>
            <a:ext cx="8793114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mtClean="0"/>
              <a:t>Образец заголовка</a:t>
            </a:r>
            <a:endParaRPr lang="en-US" smtClean="0"/>
          </a:p>
        </p:txBody>
      </p:sp>
      <p:sp>
        <p:nvSpPr>
          <p:cNvPr id="1034" name="Rectangle 3"/>
          <p:cNvSpPr>
            <a:spLocks noGrp="1" noChangeArrowheads="1"/>
          </p:cNvSpPr>
          <p:nvPr>
            <p:ph type="body" idx="1"/>
            <p:custDataLst>
              <p:tags r:id="rId22"/>
            </p:custDataLst>
          </p:nvPr>
        </p:nvSpPr>
        <p:spPr bwMode="auto">
          <a:xfrm>
            <a:off x="125819" y="973569"/>
            <a:ext cx="8793114" cy="1738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smtClean="0"/>
          </a:p>
        </p:txBody>
      </p:sp>
      <p:grpSp>
        <p:nvGrpSpPr>
          <p:cNvPr id="1035" name="McK Slide Elements"/>
          <p:cNvGrpSpPr>
            <a:grpSpLocks/>
          </p:cNvGrpSpPr>
          <p:nvPr/>
        </p:nvGrpSpPr>
        <p:grpSpPr bwMode="auto">
          <a:xfrm>
            <a:off x="125819" y="407433"/>
            <a:ext cx="8793114" cy="4715813"/>
            <a:chOff x="77" y="335"/>
            <a:chExt cx="5429" cy="3882"/>
          </a:xfrm>
        </p:grpSpPr>
        <p:sp>
          <p:nvSpPr>
            <p:cNvPr id="4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2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91114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>
                  <a:solidFill>
                    <a:srgbClr val="000000"/>
                  </a:solidFill>
                </a:rPr>
                <a:t>Unit of measure</a:t>
              </a:r>
            </a:p>
          </p:txBody>
        </p:sp>
        <p:sp>
          <p:nvSpPr>
            <p:cNvPr id="5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883"/>
              <a:ext cx="5145" cy="3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820613" indent="-820613" defTabSz="911149" fontAlgn="auto">
                <a:spcBef>
                  <a:spcPts val="0"/>
                </a:spcBef>
                <a:spcAft>
                  <a:spcPts val="0"/>
                </a:spcAft>
                <a:tabLst>
                  <a:tab pos="730073" algn="r"/>
                </a:tabLst>
                <a:defRPr/>
              </a:pPr>
              <a:r>
                <a:rPr lang="ru-RU" sz="1200">
                  <a:solidFill>
                    <a:srgbClr val="000000"/>
                  </a:solidFill>
                </a:rPr>
                <a:t>	</a:t>
              </a:r>
              <a:r>
                <a:rPr lang="en-US" sz="1200">
                  <a:solidFill>
                    <a:srgbClr val="000000"/>
                  </a:solidFill>
                </a:rPr>
                <a:t>*</a:t>
              </a:r>
              <a:r>
                <a:rPr lang="ru-RU" sz="1200">
                  <a:solidFill>
                    <a:srgbClr val="000000"/>
                  </a:solidFill>
                </a:rPr>
                <a:t>	Сноска</a:t>
              </a:r>
              <a:endParaRPr lang="en-US" sz="1200">
                <a:solidFill>
                  <a:srgbClr val="000000"/>
                </a:solidFill>
              </a:endParaRPr>
            </a:p>
            <a:p>
              <a:pPr marL="820613" indent="-820613" defTabSz="911149" fontAlgn="auto">
                <a:spcBef>
                  <a:spcPct val="20000"/>
                </a:spcBef>
                <a:spcAft>
                  <a:spcPts val="0"/>
                </a:spcAft>
                <a:tabLst>
                  <a:tab pos="730073" algn="r"/>
                </a:tabLst>
                <a:defRPr/>
              </a:pPr>
              <a:r>
                <a:rPr lang="ru-RU" sz="1200">
                  <a:solidFill>
                    <a:srgbClr val="000000"/>
                  </a:solidFill>
                </a:rPr>
                <a:t>	Источник</a:t>
              </a:r>
              <a:r>
                <a:rPr lang="en-US" sz="1200">
                  <a:solidFill>
                    <a:srgbClr val="000000"/>
                  </a:solidFill>
                </a:rPr>
                <a:t>:</a:t>
              </a:r>
              <a:r>
                <a:rPr lang="ru-RU" sz="1200">
                  <a:solidFill>
                    <a:srgbClr val="000000"/>
                  </a:solidFill>
                </a:rPr>
                <a:t>	Источник</a:t>
              </a:r>
              <a:endParaRPr lang="en-US" sz="1200">
                <a:solidFill>
                  <a:srgbClr val="000000"/>
                </a:solidFill>
              </a:endParaRPr>
            </a:p>
          </p:txBody>
        </p:sp>
      </p:grpSp>
      <p:sp>
        <p:nvSpPr>
          <p:cNvPr id="1052" name="Working Draft" hidden="1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 rot="5400000">
            <a:off x="8208614" y="2063006"/>
            <a:ext cx="1729641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3127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>
                <a:solidFill>
                  <a:srgbClr val="000000"/>
                </a:solidFill>
              </a:rPr>
              <a:t>Working Draft - Last Modified 09/06/2006 21:40:09</a:t>
            </a:r>
          </a:p>
        </p:txBody>
      </p:sp>
      <p:sp>
        <p:nvSpPr>
          <p:cNvPr id="1053" name="Printed" hidden="1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 rot="5400000">
            <a:off x="8585293" y="3216637"/>
            <a:ext cx="976229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3127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>
                <a:solidFill>
                  <a:srgbClr val="000000"/>
                </a:solidFill>
              </a:rPr>
              <a:t>Printed 08/06/2006 17:52:59</a:t>
            </a:r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3"/>
            <p:custDataLst>
              <p:tags r:id="rId25"/>
            </p:custDataLst>
          </p:nvPr>
        </p:nvSpPr>
        <p:spPr bwMode="auto">
          <a:xfrm>
            <a:off x="151000" y="27033"/>
            <a:ext cx="1806585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800" b="1">
                <a:solidFill>
                  <a:schemeClr val="bg2"/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FFFFFF"/>
                </a:solidFill>
              </a:rPr>
              <a:t>MOS-ROS005-200600608-SS1wm-r_c</a:t>
            </a:r>
            <a:endParaRPr lang="ru-RU" dirty="0">
              <a:solidFill>
                <a:srgbClr val="FFFFFF"/>
              </a:solidFill>
            </a:endParaRPr>
          </a:p>
        </p:txBody>
      </p:sp>
      <p:graphicFrame>
        <p:nvGraphicFramePr>
          <p:cNvPr id="1026" name="Rectangle 38" hidden="1"/>
          <p:cNvGraphicFramePr>
            <a:graphicFrameLocks/>
          </p:cNvGraphicFramePr>
          <p:nvPr>
            <p:custDataLst>
              <p:tags r:id="rId26"/>
            </p:custDataLst>
          </p:nvPr>
        </p:nvGraphicFramePr>
        <p:xfrm>
          <a:off x="6995" y="9"/>
          <a:ext cx="150979" cy="12155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350" name="think-cell Slide" r:id="rId28" imgW="0" imgH="0" progId="TCLayout.ActiveDocument.1">
                  <p:embed/>
                </p:oleObj>
              </mc:Choice>
              <mc:Fallback>
                <p:oleObj name="think-cell Slide" r:id="rId28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995" y="9"/>
                        <a:ext cx="150979" cy="12155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82997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602" r:id="rId1"/>
    <p:sldLayoutId id="2147486603" r:id="rId2"/>
    <p:sldLayoutId id="2147486604" r:id="rId3"/>
    <p:sldLayoutId id="2147486605" r:id="rId4"/>
    <p:sldLayoutId id="2147486606" r:id="rId5"/>
    <p:sldLayoutId id="2147486607" r:id="rId6"/>
    <p:sldLayoutId id="2147486608" r:id="rId7"/>
    <p:sldLayoutId id="2147486609" r:id="rId8"/>
    <p:sldLayoutId id="2147486610" r:id="rId9"/>
    <p:sldLayoutId id="2147486611" r:id="rId10"/>
    <p:sldLayoutId id="2147486612" r:id="rId11"/>
    <p:sldLayoutId id="2147486613" r:id="rId12"/>
    <p:sldLayoutId id="2147486614" r:id="rId13"/>
  </p:sldLayoutIdLst>
  <p:hf sldNum="0" hdr="0" ftr="0" dt="0"/>
  <p:txStyles>
    <p:titleStyle>
      <a:lvl1pPr algn="l" defTabSz="9111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11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2pPr>
      <a:lvl3pPr algn="l" defTabSz="9111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3pPr>
      <a:lvl4pPr algn="l" defTabSz="9111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4pPr>
      <a:lvl5pPr algn="l" defTabSz="9111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5pPr>
      <a:lvl6pPr marL="413900" algn="l" defTabSz="9111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6pPr>
      <a:lvl7pPr marL="827800" algn="l" defTabSz="9111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7pPr>
      <a:lvl8pPr marL="1241698" algn="l" defTabSz="9111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8pPr>
      <a:lvl9pPr marL="1655596" algn="l" defTabSz="9111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9pPr>
    </p:titleStyle>
    <p:bodyStyle>
      <a:lvl1pPr marL="347790" indent="-347790" algn="l" defTabSz="911149" rtl="0" eaLnBrk="1" fontAlgn="base" hangingPunct="1">
        <a:spcBef>
          <a:spcPct val="0"/>
        </a:spcBef>
        <a:spcAft>
          <a:spcPct val="0"/>
        </a:spcAft>
        <a:buSzPct val="120000"/>
        <a:buChar char="•"/>
        <a:defRPr sz="2900">
          <a:solidFill>
            <a:schemeClr val="tx1"/>
          </a:solidFill>
          <a:latin typeface="+mn-lt"/>
          <a:ea typeface="+mn-ea"/>
          <a:cs typeface="+mn-cs"/>
        </a:defRPr>
      </a:lvl1pPr>
      <a:lvl2pPr marL="148029" indent="-146590" algn="l" defTabSz="911149" rtl="0" eaLnBrk="1" fontAlgn="base" hangingPunct="1">
        <a:spcBef>
          <a:spcPct val="0"/>
        </a:spcBef>
        <a:spcAft>
          <a:spcPct val="0"/>
        </a:spcAft>
        <a:buSzPct val="120000"/>
        <a:buChar char="•"/>
        <a:defRPr sz="2600">
          <a:solidFill>
            <a:schemeClr val="tx1"/>
          </a:solidFill>
          <a:latin typeface="+mn-lt"/>
        </a:defRPr>
      </a:lvl2pPr>
      <a:lvl3pPr marL="300363" indent="-150901" algn="l" defTabSz="911149" rtl="0" eaLnBrk="1" fontAlgn="base" hangingPunct="1">
        <a:spcBef>
          <a:spcPct val="0"/>
        </a:spcBef>
        <a:spcAft>
          <a:spcPct val="0"/>
        </a:spcAft>
        <a:buChar char="–"/>
        <a:defRPr sz="2200">
          <a:solidFill>
            <a:schemeClr val="tx1"/>
          </a:solidFill>
          <a:latin typeface="+mn-lt"/>
        </a:defRPr>
      </a:lvl3pPr>
      <a:lvl4pPr marL="439769" indent="-136532" algn="l" defTabSz="911149" rtl="0" eaLnBrk="1" fontAlgn="base" hangingPunct="1">
        <a:spcBef>
          <a:spcPct val="0"/>
        </a:spcBef>
        <a:spcAft>
          <a:spcPct val="0"/>
        </a:spcAft>
        <a:buSzPct val="89000"/>
        <a:buChar char="•"/>
        <a:defRPr sz="1800">
          <a:solidFill>
            <a:schemeClr val="tx1"/>
          </a:solidFill>
          <a:latin typeface="+mn-lt"/>
        </a:defRPr>
      </a:lvl4pPr>
      <a:lvl5pPr marL="592112" indent="-149463" algn="l" defTabSz="911149" rtl="0" eaLnBrk="1" fontAlgn="base" hangingPunct="1">
        <a:spcBef>
          <a:spcPct val="0"/>
        </a:spcBef>
        <a:spcAft>
          <a:spcPct val="0"/>
        </a:spcAft>
        <a:buSzPct val="75000"/>
        <a:buChar char="–"/>
        <a:defRPr sz="1800">
          <a:solidFill>
            <a:schemeClr val="tx1"/>
          </a:solidFill>
          <a:latin typeface="+mn-lt"/>
        </a:defRPr>
      </a:lvl5pPr>
      <a:lvl6pPr marL="1006005" indent="-149463" algn="l" defTabSz="911149" rtl="0" eaLnBrk="1" fontAlgn="base" hangingPunct="1">
        <a:spcBef>
          <a:spcPct val="0"/>
        </a:spcBef>
        <a:spcAft>
          <a:spcPct val="0"/>
        </a:spcAft>
        <a:buSzPct val="75000"/>
        <a:buChar char="–"/>
        <a:defRPr>
          <a:solidFill>
            <a:schemeClr val="tx1"/>
          </a:solidFill>
          <a:latin typeface="+mn-lt"/>
        </a:defRPr>
      </a:lvl6pPr>
      <a:lvl7pPr marL="1419904" indent="-149463" algn="l" defTabSz="911149" rtl="0" eaLnBrk="1" fontAlgn="base" hangingPunct="1">
        <a:spcBef>
          <a:spcPct val="0"/>
        </a:spcBef>
        <a:spcAft>
          <a:spcPct val="0"/>
        </a:spcAft>
        <a:buSzPct val="75000"/>
        <a:buChar char="–"/>
        <a:defRPr>
          <a:solidFill>
            <a:schemeClr val="tx1"/>
          </a:solidFill>
          <a:latin typeface="+mn-lt"/>
        </a:defRPr>
      </a:lvl7pPr>
      <a:lvl8pPr marL="1833798" indent="-149463" algn="l" defTabSz="911149" rtl="0" eaLnBrk="1" fontAlgn="base" hangingPunct="1">
        <a:spcBef>
          <a:spcPct val="0"/>
        </a:spcBef>
        <a:spcAft>
          <a:spcPct val="0"/>
        </a:spcAft>
        <a:buSzPct val="75000"/>
        <a:buChar char="–"/>
        <a:defRPr>
          <a:solidFill>
            <a:schemeClr val="tx1"/>
          </a:solidFill>
          <a:latin typeface="+mn-lt"/>
        </a:defRPr>
      </a:lvl8pPr>
      <a:lvl9pPr marL="2247700" indent="-149463" algn="l" defTabSz="911149" rtl="0" eaLnBrk="1" fontAlgn="base" hangingPunct="1">
        <a:spcBef>
          <a:spcPct val="0"/>
        </a:spcBef>
        <a:spcAft>
          <a:spcPct val="0"/>
        </a:spcAft>
        <a:buSzPct val="75000"/>
        <a:buChar char="–"/>
        <a:defRPr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8278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3900" algn="l" defTabSz="8278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7800" algn="l" defTabSz="8278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41698" algn="l" defTabSz="8278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55596" algn="l" defTabSz="8278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69491" algn="l" defTabSz="8278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83392" algn="l" defTabSz="8278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97293" algn="l" defTabSz="8278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191" algn="l" defTabSz="8278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 vert="horz" lIns="91402" tIns="45701" rIns="91402" bIns="45701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200154"/>
            <a:ext cx="8229600" cy="3394472"/>
          </a:xfrm>
          <a:prstGeom prst="rect">
            <a:avLst/>
          </a:prstGeom>
        </p:spPr>
        <p:txBody>
          <a:bodyPr vert="horz" lIns="91402" tIns="45701" rIns="91402" bIns="45701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02" tIns="45701" rIns="91402" bIns="45701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1" y="4767263"/>
            <a:ext cx="2895600" cy="273844"/>
          </a:xfrm>
          <a:prstGeom prst="rect">
            <a:avLst/>
          </a:prstGeom>
        </p:spPr>
        <p:txBody>
          <a:bodyPr vert="horz" lIns="91402" tIns="45701" rIns="91402" bIns="45701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MOS-ROS005-200600608-SS1wm-r_c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02" tIns="45701" rIns="91402" bIns="45701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F75A29-C51F-4DAC-B821-A9D05263BE7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066698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632" r:id="rId1"/>
    <p:sldLayoutId id="2147486633" r:id="rId2"/>
    <p:sldLayoutId id="2147486634" r:id="rId3"/>
    <p:sldLayoutId id="2147486635" r:id="rId4"/>
    <p:sldLayoutId id="2147486636" r:id="rId5"/>
    <p:sldLayoutId id="2147486637" r:id="rId6"/>
    <p:sldLayoutId id="2147486638" r:id="rId7"/>
    <p:sldLayoutId id="2147486639" r:id="rId8"/>
    <p:sldLayoutId id="2147486640" r:id="rId9"/>
    <p:sldLayoutId id="2147486641" r:id="rId10"/>
    <p:sldLayoutId id="2147486642" r:id="rId11"/>
  </p:sldLayoutIdLst>
  <p:hf sldNum="0" hdr="0" ftr="0" dt="0"/>
  <p:txStyles>
    <p:titleStyle>
      <a:lvl1pPr algn="ctr" defTabSz="914012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754" indent="-342754" algn="l" defTabSz="914012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636" indent="-285630" algn="l" defTabSz="914012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515" indent="-228502" algn="l" defTabSz="914012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521" indent="-228502" algn="l" defTabSz="914012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528" indent="-228502" algn="l" defTabSz="914012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534" indent="-228502" algn="l" defTabSz="91401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540" indent="-228502" algn="l" defTabSz="91401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547" indent="-228502" algn="l" defTabSz="91401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552" indent="-228502" algn="l" defTabSz="91401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08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1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2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025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03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037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044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05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11.xml"/><Relationship Id="rId7" Type="http://schemas.openxmlformats.org/officeDocument/2006/relationships/image" Target="../media/image2.emf"/><Relationship Id="rId2" Type="http://schemas.openxmlformats.org/officeDocument/2006/relationships/tags" Target="../tags/tag210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4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13.xml"/><Relationship Id="rId7" Type="http://schemas.openxmlformats.org/officeDocument/2006/relationships/image" Target="../media/image2.emf"/><Relationship Id="rId2" Type="http://schemas.openxmlformats.org/officeDocument/2006/relationships/tags" Target="../tags/tag212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5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215.xml"/><Relationship Id="rId7" Type="http://schemas.openxmlformats.org/officeDocument/2006/relationships/image" Target="../media/image2.emf"/><Relationship Id="rId2" Type="http://schemas.openxmlformats.org/officeDocument/2006/relationships/tags" Target="../tags/tag214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26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27.vml"/><Relationship Id="rId4" Type="http://schemas.openxmlformats.org/officeDocument/2006/relationships/image" Target="../media/image11.emf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.bin"/><Relationship Id="rId3" Type="http://schemas.openxmlformats.org/officeDocument/2006/relationships/tags" Target="../tags/tag189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188.xml"/><Relationship Id="rId1" Type="http://schemas.openxmlformats.org/officeDocument/2006/relationships/vmlDrawing" Target="../drawings/vmlDrawing17.v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191.xml"/><Relationship Id="rId10" Type="http://schemas.openxmlformats.org/officeDocument/2006/relationships/chart" Target="../charts/chart1.xml"/><Relationship Id="rId4" Type="http://schemas.openxmlformats.org/officeDocument/2006/relationships/tags" Target="../tags/tag190.xml"/><Relationship Id="rId9" Type="http://schemas.openxmlformats.org/officeDocument/2006/relationships/image" Target="../media/image2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217.xml"/><Relationship Id="rId7" Type="http://schemas.openxmlformats.org/officeDocument/2006/relationships/image" Target="../media/image2.emf"/><Relationship Id="rId2" Type="http://schemas.openxmlformats.org/officeDocument/2006/relationships/tags" Target="../tags/tag216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28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193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192.xml"/><Relationship Id="rId1" Type="http://schemas.openxmlformats.org/officeDocument/2006/relationships/vmlDrawing" Target="../drawings/vmlDrawing18.v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4.png"/><Relationship Id="rId5" Type="http://schemas.openxmlformats.org/officeDocument/2006/relationships/tags" Target="../tags/tag195.xml"/><Relationship Id="rId10" Type="http://schemas.openxmlformats.org/officeDocument/2006/relationships/image" Target="../media/image3.png"/><Relationship Id="rId4" Type="http://schemas.openxmlformats.org/officeDocument/2006/relationships/tags" Target="../tags/tag194.xml"/><Relationship Id="rId9" Type="http://schemas.openxmlformats.org/officeDocument/2006/relationships/image" Target="../media/image2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9.bin"/><Relationship Id="rId3" Type="http://schemas.openxmlformats.org/officeDocument/2006/relationships/tags" Target="../tags/tag197.xml"/><Relationship Id="rId7" Type="http://schemas.openxmlformats.org/officeDocument/2006/relationships/notesSlide" Target="../notesSlides/notesSlide4.xml"/><Relationship Id="rId2" Type="http://schemas.openxmlformats.org/officeDocument/2006/relationships/tags" Target="../tags/tag196.xml"/><Relationship Id="rId1" Type="http://schemas.openxmlformats.org/officeDocument/2006/relationships/vmlDrawing" Target="../drawings/vmlDrawing19.v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199.xml"/><Relationship Id="rId10" Type="http://schemas.openxmlformats.org/officeDocument/2006/relationships/image" Target="../media/image5.png"/><Relationship Id="rId4" Type="http://schemas.openxmlformats.org/officeDocument/2006/relationships/tags" Target="../tags/tag198.xml"/><Relationship Id="rId9" Type="http://schemas.openxmlformats.org/officeDocument/2006/relationships/image" Target="../media/image2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201.xml"/><Relationship Id="rId7" Type="http://schemas.openxmlformats.org/officeDocument/2006/relationships/notesSlide" Target="../notesSlides/notesSlide5.xml"/><Relationship Id="rId2" Type="http://schemas.openxmlformats.org/officeDocument/2006/relationships/tags" Target="../tags/tag200.xml"/><Relationship Id="rId1" Type="http://schemas.openxmlformats.org/officeDocument/2006/relationships/vmlDrawing" Target="../drawings/vmlDrawing20.v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203.xml"/><Relationship Id="rId10" Type="http://schemas.openxmlformats.org/officeDocument/2006/relationships/image" Target="../media/image6.png"/><Relationship Id="rId4" Type="http://schemas.openxmlformats.org/officeDocument/2006/relationships/tags" Target="../tags/tag202.xml"/><Relationship Id="rId9" Type="http://schemas.openxmlformats.org/officeDocument/2006/relationships/image" Target="../media/image2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205.xml"/><Relationship Id="rId7" Type="http://schemas.openxmlformats.org/officeDocument/2006/relationships/image" Target="../media/image2.emf"/><Relationship Id="rId2" Type="http://schemas.openxmlformats.org/officeDocument/2006/relationships/tags" Target="../tags/tag204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tags" Target="../tags/tag207.xml"/><Relationship Id="rId7" Type="http://schemas.openxmlformats.org/officeDocument/2006/relationships/image" Target="../media/image2.emf"/><Relationship Id="rId2" Type="http://schemas.openxmlformats.org/officeDocument/2006/relationships/tags" Target="../tags/tag206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09.xml"/><Relationship Id="rId7" Type="http://schemas.openxmlformats.org/officeDocument/2006/relationships/image" Target="../media/image2.emf"/><Relationship Id="rId2" Type="http://schemas.openxmlformats.org/officeDocument/2006/relationships/tags" Target="../tags/tag208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1118" y="161925"/>
            <a:ext cx="4509940" cy="4790994"/>
          </a:xfrm>
          <a:prstGeom prst="rect">
            <a:avLst/>
          </a:prstGeom>
        </p:spPr>
      </p:pic>
      <p:sp>
        <p:nvSpPr>
          <p:cNvPr id="99332" name="Rectangle 3"/>
          <p:cNvSpPr>
            <a:spLocks noChangeArrowheads="1"/>
          </p:cNvSpPr>
          <p:nvPr/>
        </p:nvSpPr>
        <p:spPr bwMode="auto">
          <a:xfrm>
            <a:off x="0" y="161925"/>
            <a:ext cx="9144000" cy="5479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372" tIns="46184" rIns="92372" bIns="46184">
            <a:spAutoFit/>
          </a:bodyPr>
          <a:lstStyle/>
          <a:p>
            <a:pPr algn="ctr" defTabSz="927460" fontAlgn="base">
              <a:spcBef>
                <a:spcPct val="0"/>
              </a:spcBef>
              <a:spcAft>
                <a:spcPct val="0"/>
              </a:spcAft>
            </a:pPr>
            <a:endParaRPr lang="ru-RU" sz="3700" b="1" dirty="0" smtClean="0">
              <a:solidFill>
                <a:srgbClr val="002960"/>
              </a:solidFill>
              <a:latin typeface="Arial" pitchFamily="34" charset="0"/>
              <a:cs typeface="Arial" pitchFamily="34" charset="0"/>
            </a:endParaRPr>
          </a:p>
          <a:p>
            <a:pPr algn="ctr" defTabSz="927460" fontAlgn="base">
              <a:spcBef>
                <a:spcPct val="0"/>
              </a:spcBef>
              <a:spcAft>
                <a:spcPct val="0"/>
              </a:spcAft>
            </a:pPr>
            <a:endParaRPr lang="ru-RU" sz="3700" b="1" dirty="0" smtClean="0">
              <a:solidFill>
                <a:srgbClr val="00296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ru-RU" sz="3200" b="1" dirty="0" smtClean="0"/>
              <a:t> </a:t>
            </a:r>
            <a:r>
              <a:rPr lang="ru-RU" sz="3200" b="1" dirty="0">
                <a:solidFill>
                  <a:schemeClr val="accent5">
                    <a:lumMod val="25000"/>
                  </a:schemeClr>
                </a:solidFill>
              </a:rPr>
              <a:t>Социально-экономическая </a:t>
            </a:r>
            <a:r>
              <a:rPr lang="ru-RU" sz="3200" b="1" dirty="0" smtClean="0">
                <a:solidFill>
                  <a:schemeClr val="accent5">
                    <a:lumMod val="25000"/>
                  </a:schemeClr>
                </a:solidFill>
              </a:rPr>
              <a:t>ситуация</a:t>
            </a:r>
          </a:p>
          <a:p>
            <a:pPr algn="ctr"/>
            <a:r>
              <a:rPr lang="ru-RU" sz="3200" b="1" dirty="0" smtClean="0">
                <a:solidFill>
                  <a:schemeClr val="accent5">
                    <a:lumMod val="25000"/>
                  </a:schemeClr>
                </a:solidFill>
              </a:rPr>
              <a:t> </a:t>
            </a:r>
            <a:r>
              <a:rPr lang="ru-RU" sz="3200" b="1" dirty="0">
                <a:solidFill>
                  <a:schemeClr val="accent5">
                    <a:lumMod val="25000"/>
                  </a:schemeClr>
                </a:solidFill>
              </a:rPr>
              <a:t>в Иркутской </a:t>
            </a:r>
            <a:r>
              <a:rPr lang="ru-RU" sz="3200" b="1" dirty="0" smtClean="0">
                <a:solidFill>
                  <a:schemeClr val="accent5">
                    <a:lumMod val="25000"/>
                  </a:schemeClr>
                </a:solidFill>
              </a:rPr>
              <a:t>области и </a:t>
            </a:r>
            <a:r>
              <a:rPr lang="ru-RU" sz="3200" b="1" dirty="0">
                <a:solidFill>
                  <a:schemeClr val="accent5">
                    <a:lumMod val="25000"/>
                  </a:schemeClr>
                </a:solidFill>
              </a:rPr>
              <a:t>актуальные задачи органов местного самоуправления</a:t>
            </a:r>
            <a:br>
              <a:rPr lang="ru-RU" sz="3200" b="1" dirty="0">
                <a:solidFill>
                  <a:schemeClr val="accent5">
                    <a:lumMod val="25000"/>
                  </a:schemeClr>
                </a:solidFill>
              </a:rPr>
            </a:br>
            <a:r>
              <a:rPr lang="ru-RU" sz="3200" b="1" dirty="0">
                <a:solidFill>
                  <a:schemeClr val="accent5">
                    <a:lumMod val="25000"/>
                  </a:schemeClr>
                </a:solidFill>
              </a:rPr>
              <a:t>муниципальных </a:t>
            </a:r>
            <a:r>
              <a:rPr lang="ru-RU" sz="3200" b="1" dirty="0" smtClean="0">
                <a:solidFill>
                  <a:schemeClr val="accent5">
                    <a:lumMod val="25000"/>
                  </a:schemeClr>
                </a:solidFill>
              </a:rPr>
              <a:t>образований</a:t>
            </a:r>
          </a:p>
          <a:p>
            <a:pPr algn="ctr"/>
            <a:r>
              <a:rPr lang="ru-RU" sz="3200" b="1" dirty="0" smtClean="0">
                <a:solidFill>
                  <a:schemeClr val="accent5">
                    <a:lumMod val="25000"/>
                  </a:schemeClr>
                </a:solidFill>
              </a:rPr>
              <a:t> </a:t>
            </a:r>
            <a:r>
              <a:rPr lang="ru-RU" sz="3200" b="1" dirty="0">
                <a:solidFill>
                  <a:schemeClr val="accent5">
                    <a:lumMod val="25000"/>
                  </a:schemeClr>
                </a:solidFill>
              </a:rPr>
              <a:t>в современных условиях</a:t>
            </a:r>
            <a:endParaRPr lang="ru-RU" sz="3200" dirty="0">
              <a:solidFill>
                <a:schemeClr val="accent5">
                  <a:lumMod val="25000"/>
                </a:schemeClr>
              </a:solidFill>
            </a:endParaRPr>
          </a:p>
          <a:p>
            <a:pPr algn="ctr" defTabSz="927460" fontAlgn="base">
              <a:spcBef>
                <a:spcPct val="0"/>
              </a:spcBef>
              <a:spcAft>
                <a:spcPct val="0"/>
              </a:spcAft>
            </a:pPr>
            <a:endParaRPr lang="ru-RU" sz="1600" dirty="0">
              <a:solidFill>
                <a:srgbClr val="002960"/>
              </a:solidFill>
              <a:latin typeface="Arial" pitchFamily="34" charset="0"/>
              <a:cs typeface="Arial" pitchFamily="34" charset="0"/>
            </a:endParaRPr>
          </a:p>
          <a:p>
            <a:pPr algn="ctr" defTabSz="927460"/>
            <a:endParaRPr lang="ru-RU" sz="2000" dirty="0">
              <a:solidFill>
                <a:srgbClr val="002960"/>
              </a:solidFill>
              <a:cs typeface="Arial" pitchFamily="34" charset="0"/>
            </a:endParaRPr>
          </a:p>
          <a:p>
            <a:pPr algn="ctr" defTabSz="927460"/>
            <a:endParaRPr lang="ru-RU" sz="2000" dirty="0">
              <a:solidFill>
                <a:srgbClr val="002960"/>
              </a:solidFill>
              <a:cs typeface="Arial" pitchFamily="34" charset="0"/>
            </a:endParaRPr>
          </a:p>
          <a:p>
            <a:pPr algn="ctr" defTabSz="927460"/>
            <a:endParaRPr lang="ru-RU" sz="2000" dirty="0">
              <a:solidFill>
                <a:srgbClr val="002960"/>
              </a:solidFill>
              <a:cs typeface="Arial" pitchFamily="34" charset="0"/>
            </a:endParaRPr>
          </a:p>
          <a:p>
            <a:pPr algn="ctr" defTabSz="927460"/>
            <a:endParaRPr lang="ru-RU" sz="2000" b="1" dirty="0">
              <a:solidFill>
                <a:srgbClr val="002960"/>
              </a:solidFill>
              <a:cs typeface="Arial" pitchFamily="34" charset="0"/>
            </a:endParaRPr>
          </a:p>
          <a:p>
            <a:pPr algn="ctr" defTabSz="927460"/>
            <a:endParaRPr lang="ru-RU" sz="2000" b="1" dirty="0">
              <a:solidFill>
                <a:srgbClr val="00296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7764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45160" y="232386"/>
            <a:ext cx="8932165" cy="338554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 anchorCtr="0">
            <a:spAutoFit/>
          </a:bodyPr>
          <a:lstStyle/>
          <a:p>
            <a:r>
              <a:rPr lang="ru-RU" sz="1600" b="1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нонаправленные тенденции:</a:t>
            </a:r>
            <a:endParaRPr lang="ru-RU" sz="1600" b="1" dirty="0">
              <a:solidFill>
                <a:schemeClr val="accent5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135635" y="608482"/>
            <a:ext cx="8932165" cy="738664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 anchorCtr="0">
            <a:spAutoFit/>
          </a:bodyPr>
          <a:lstStyle/>
          <a:p>
            <a:pPr algn="just"/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марте 2016 года </a:t>
            </a:r>
            <a:r>
              <a:rPr lang="ru-RU" sz="14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реднемесячная номинальная заработная 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лата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начисленная за март 2016 г., по оценке, составила </a:t>
            </a:r>
            <a:r>
              <a:rPr lang="ru-RU" sz="14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33 170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уб., по сравнению с февралем она увеличилась на </a:t>
            </a:r>
            <a:r>
              <a:rPr lang="ru-RU" sz="14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4,4 %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по отношению к марту 2015 г. – на 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6</a:t>
            </a:r>
            <a:r>
              <a:rPr lang="ru-RU" sz="14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1 %. </a:t>
            </a:r>
            <a:endParaRPr lang="ru-RU" sz="1400" b="1" i="1" dirty="0">
              <a:solidFill>
                <a:schemeClr val="accent5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45160" y="1295233"/>
            <a:ext cx="893216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i="1" dirty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реднемесячная заработная плата по отраслям экономики </a:t>
            </a:r>
            <a:br>
              <a:rPr lang="ru-RU" sz="1400" b="1" i="1" dirty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b="1" i="1" dirty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ркутской области за январь </a:t>
            </a:r>
            <a:r>
              <a:rPr lang="en-US" sz="1400" b="1" i="1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</a:t>
            </a:r>
            <a:r>
              <a:rPr lang="ru-RU" sz="1400" b="1" i="1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евраль 2016 </a:t>
            </a:r>
            <a:r>
              <a:rPr lang="ru-RU" sz="1400" b="1" i="1" dirty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да</a:t>
            </a:r>
            <a:endParaRPr lang="ru-RU" sz="1400" i="1" dirty="0">
              <a:solidFill>
                <a:schemeClr val="accent5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09282" name="Picture 2" descr="http://irkzan.ru/mediafiles/downfile.ashx?fileid=62c7b4ea-d80e-4f50-8f1c-282c89498228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2775" y="1847766"/>
            <a:ext cx="5175250" cy="3119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237330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3958186"/>
              </p:ext>
            </p:extLst>
          </p:nvPr>
        </p:nvGraphicFramePr>
        <p:xfrm>
          <a:off x="228598" y="1438276"/>
          <a:ext cx="8763001" cy="3212262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69CF1AB2-1976-4502-BF36-3FF5EA218861}</a:tableStyleId>
              </a:tblPr>
              <a:tblGrid>
                <a:gridCol w="3022718"/>
                <a:gridCol w="1744539"/>
                <a:gridCol w="1997872"/>
                <a:gridCol w="1997872"/>
              </a:tblGrid>
              <a:tr h="337761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Социально-демографическая группа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4997" marR="54997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1 квартал 2016 г., рублей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4997" marR="54997" marT="0" marB="0" anchor="ctr"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в % к: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4997" marR="54997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01328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4 кварталу </a:t>
                      </a:r>
                      <a:endParaRPr lang="ru-RU" sz="1600" dirty="0"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201</a:t>
                      </a:r>
                      <a:r>
                        <a:rPr lang="en-US" sz="1400" dirty="0">
                          <a:effectLst/>
                        </a:rPr>
                        <a:t>5</a:t>
                      </a:r>
                      <a:r>
                        <a:rPr lang="ru-RU" sz="1400" dirty="0">
                          <a:effectLst/>
                        </a:rPr>
                        <a:t>г.</a:t>
                      </a:r>
                      <a:endParaRPr lang="ru-RU" sz="1600" b="1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4997" marR="54997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соответствующему </a:t>
                      </a:r>
                      <a:br>
                        <a:rPr lang="ru-RU" sz="1400">
                          <a:effectLst/>
                        </a:rPr>
                      </a:br>
                      <a:r>
                        <a:rPr lang="ru-RU" sz="1400">
                          <a:effectLst/>
                        </a:rPr>
                        <a:t>периоду прошлого года</a:t>
                      </a:r>
                      <a:endParaRPr lang="ru-RU" sz="16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4997" marR="54997" marT="0" marB="0" anchor="ctr"/>
                </a:tc>
              </a:tr>
              <a:tr h="447625">
                <a:tc>
                  <a:txBody>
                    <a:bodyPr/>
                    <a:lstStyle/>
                    <a:p>
                      <a:pPr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В среднем на душу населения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4997" marR="54997" marT="0" marB="0"/>
                </a:tc>
                <a:tc>
                  <a:txBody>
                    <a:bodyPr/>
                    <a:lstStyle/>
                    <a:p>
                      <a:pPr marR="381635" algn="r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10 081</a:t>
                      </a:r>
                      <a:endParaRPr lang="ru-RU" sz="1600" b="0" i="1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4997" marR="54997" marT="0" marB="0" anchor="b"/>
                </a:tc>
                <a:tc>
                  <a:txBody>
                    <a:bodyPr/>
                    <a:lstStyle/>
                    <a:p>
                      <a:pPr marR="291465" algn="r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102,7</a:t>
                      </a:r>
                      <a:endParaRPr lang="ru-RU" sz="1600" b="0" i="1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4997" marR="54997" marT="0" marB="0" anchor="b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101,4</a:t>
                      </a:r>
                      <a:endParaRPr lang="ru-RU" sz="1600" b="0" i="1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4997" marR="54997" marT="0" marB="0" anchor="b"/>
                </a:tc>
              </a:tr>
              <a:tr h="738071">
                <a:tc>
                  <a:txBody>
                    <a:bodyPr/>
                    <a:lstStyle/>
                    <a:p>
                      <a:pPr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в том числе:</a:t>
                      </a:r>
                      <a:endParaRPr lang="ru-RU" sz="1600">
                        <a:effectLst/>
                      </a:endParaRPr>
                    </a:p>
                    <a:p>
                      <a:pPr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   трудоспособное население</a:t>
                      </a:r>
                      <a:endParaRPr lang="ru-RU" sz="16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4997" marR="54997" marT="0" marB="0"/>
                </a:tc>
                <a:tc>
                  <a:txBody>
                    <a:bodyPr/>
                    <a:lstStyle/>
                    <a:p>
                      <a:pPr marR="381635" algn="r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10 673</a:t>
                      </a:r>
                      <a:endParaRPr lang="ru-RU" sz="1600" b="0" i="1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4997" marR="54997" marT="0" marB="0" anchor="b"/>
                </a:tc>
                <a:tc>
                  <a:txBody>
                    <a:bodyPr/>
                    <a:lstStyle/>
                    <a:p>
                      <a:pPr marR="291465" algn="r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102,5</a:t>
                      </a:r>
                      <a:endParaRPr lang="ru-RU" sz="1600" b="0" i="1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4997" marR="54997" marT="0" marB="0" anchor="b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101,3</a:t>
                      </a:r>
                      <a:endParaRPr lang="ru-RU" sz="1600" b="0" i="1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4997" marR="54997" marT="0" marB="0" anchor="b"/>
                </a:tc>
              </a:tr>
              <a:tr h="337761">
                <a:tc>
                  <a:txBody>
                    <a:bodyPr/>
                    <a:lstStyle/>
                    <a:p>
                      <a:pPr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   пенсионеры</a:t>
                      </a:r>
                      <a:endParaRPr lang="ru-RU" sz="16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4997" marR="54997" marT="0" marB="0"/>
                </a:tc>
                <a:tc>
                  <a:txBody>
                    <a:bodyPr/>
                    <a:lstStyle/>
                    <a:p>
                      <a:pPr marR="381635" algn="r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8 10</a:t>
                      </a:r>
                      <a:r>
                        <a:rPr lang="en-US" sz="1400" dirty="0">
                          <a:effectLst/>
                        </a:rPr>
                        <a:t>4</a:t>
                      </a:r>
                      <a:endParaRPr lang="ru-RU" sz="1600" b="0" i="1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4997" marR="54997" marT="0" marB="0" anchor="b"/>
                </a:tc>
                <a:tc>
                  <a:txBody>
                    <a:bodyPr/>
                    <a:lstStyle/>
                    <a:p>
                      <a:pPr marR="291465" algn="r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102,7</a:t>
                      </a:r>
                      <a:endParaRPr lang="ru-RU" sz="1600" b="0" i="1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4997" marR="54997" marT="0" marB="0" anchor="b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101,5</a:t>
                      </a:r>
                      <a:endParaRPr lang="ru-RU" sz="1600" b="0" i="1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4997" marR="54997" marT="0" marB="0" anchor="b"/>
                </a:tc>
              </a:tr>
              <a:tr h="337761">
                <a:tc>
                  <a:txBody>
                    <a:bodyPr/>
                    <a:lstStyle/>
                    <a:p>
                      <a:pPr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   дети</a:t>
                      </a:r>
                      <a:endParaRPr lang="ru-RU" sz="160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4997" marR="54997" marT="0" marB="0"/>
                </a:tc>
                <a:tc>
                  <a:txBody>
                    <a:bodyPr/>
                    <a:lstStyle/>
                    <a:p>
                      <a:pPr marR="381635" algn="r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10 353</a:t>
                      </a:r>
                      <a:endParaRPr lang="ru-RU" sz="1600" b="0" i="1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4997" marR="54997" marT="0" marB="0" anchor="b"/>
                </a:tc>
                <a:tc>
                  <a:txBody>
                    <a:bodyPr/>
                    <a:lstStyle/>
                    <a:p>
                      <a:pPr marR="291465" algn="r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103</a:t>
                      </a:r>
                      <a:r>
                        <a:rPr lang="ru-RU" sz="1400" dirty="0">
                          <a:effectLst/>
                        </a:rPr>
                        <a:t>,</a:t>
                      </a:r>
                      <a:r>
                        <a:rPr lang="en-US" sz="1400" dirty="0">
                          <a:effectLst/>
                        </a:rPr>
                        <a:t>3</a:t>
                      </a:r>
                      <a:endParaRPr lang="ru-RU" sz="1600" b="0" i="1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4997" marR="54997" marT="0" marB="0" anchor="b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101,7</a:t>
                      </a:r>
                      <a:endParaRPr lang="ru-RU" sz="1600" b="0" i="1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54997" marR="54997" marT="0" marB="0" anchor="b"/>
                </a:tc>
              </a:tr>
            </a:tbl>
          </a:graphicData>
        </a:graphic>
      </p:graphicFrame>
      <p:graphicFrame>
        <p:nvGraphicFramePr>
          <p:cNvPr id="27" name="Объект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5510272"/>
              </p:ext>
            </p:ext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705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1906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r" defTabSz="912813">
              <a:lnSpc>
                <a:spcPct val="90000"/>
              </a:lnSpc>
            </a:pPr>
            <a:endParaRPr kumimoji="0" lang="ru-RU" sz="1200" b="1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Arial"/>
              <a:sym typeface="Arial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45160" y="232386"/>
            <a:ext cx="8922640" cy="338554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 anchorCtr="0">
            <a:spAutoFit/>
          </a:bodyPr>
          <a:lstStyle/>
          <a:p>
            <a:r>
              <a:rPr lang="ru-RU" sz="1600" b="1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нонаправленные тенденции:</a:t>
            </a:r>
            <a:endParaRPr lang="ru-RU" sz="1600" b="1" dirty="0">
              <a:solidFill>
                <a:schemeClr val="accent5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45160" y="674233"/>
            <a:ext cx="8922641" cy="584775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 anchorCtr="0">
            <a:spAutoFit/>
          </a:bodyPr>
          <a:lstStyle/>
          <a:p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 Иркутской области 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еличина прожиточного минимума за 1 квартал 2016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в среднем на душу населения составила 10 081 руб., по сравнению с 4 кварталом 2015 года 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ост составил 2,7 %.</a:t>
            </a:r>
            <a:endParaRPr lang="ru-RU" sz="1600" dirty="0"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6" name="Rectangle 13"/>
          <p:cNvSpPr>
            <a:spLocks noChangeArrowheads="1"/>
          </p:cNvSpPr>
          <p:nvPr/>
        </p:nvSpPr>
        <p:spPr bwMode="auto">
          <a:xfrm>
            <a:off x="1846263" y="879475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Стрелка вверх 11"/>
          <p:cNvSpPr/>
          <p:nvPr/>
        </p:nvSpPr>
        <p:spPr bwMode="auto">
          <a:xfrm>
            <a:off x="8509782" y="3662357"/>
            <a:ext cx="93663" cy="238125"/>
          </a:xfrm>
          <a:prstGeom prst="upArrow">
            <a:avLst/>
          </a:prstGeom>
          <a:solidFill>
            <a:srgbClr val="008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Стрелка вверх 19"/>
          <p:cNvSpPr/>
          <p:nvPr/>
        </p:nvSpPr>
        <p:spPr bwMode="auto">
          <a:xfrm>
            <a:off x="8812981" y="4029075"/>
            <a:ext cx="93663" cy="238125"/>
          </a:xfrm>
          <a:prstGeom prst="upArrow">
            <a:avLst/>
          </a:prstGeom>
          <a:solidFill>
            <a:srgbClr val="008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1" name="Стрелка вверх 20"/>
          <p:cNvSpPr/>
          <p:nvPr/>
        </p:nvSpPr>
        <p:spPr bwMode="auto">
          <a:xfrm>
            <a:off x="8338335" y="4376735"/>
            <a:ext cx="93663" cy="238125"/>
          </a:xfrm>
          <a:prstGeom prst="upArrow">
            <a:avLst/>
          </a:prstGeom>
          <a:solidFill>
            <a:srgbClr val="008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2" name="Стрелка вверх 21"/>
          <p:cNvSpPr/>
          <p:nvPr/>
        </p:nvSpPr>
        <p:spPr bwMode="auto">
          <a:xfrm>
            <a:off x="8719318" y="2967035"/>
            <a:ext cx="93663" cy="238125"/>
          </a:xfrm>
          <a:prstGeom prst="upArrow">
            <a:avLst/>
          </a:prstGeom>
          <a:solidFill>
            <a:srgbClr val="008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1061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Объект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5434647"/>
              </p:ext>
            </p:ext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808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1906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r" defTabSz="912813">
              <a:lnSpc>
                <a:spcPct val="90000"/>
              </a:lnSpc>
            </a:pPr>
            <a:endParaRPr kumimoji="0" lang="ru-RU" sz="1200" b="1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Arial"/>
              <a:sym typeface="Arial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7150" y="223668"/>
            <a:ext cx="9067800" cy="830997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 anchorCtr="0">
            <a:spAutoFit/>
          </a:bodyPr>
          <a:lstStyle/>
          <a:p>
            <a:pPr algn="just"/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нализ 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сполнения областного бюджета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за период январь – март 2016 года показал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то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фактическое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сполнение по доходам составило 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4 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лрд рублей, или 23,6 % от плана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исполнение по расходам составило 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23,2 млрд рублей, или 21,3 %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т плана.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pic>
        <p:nvPicPr>
          <p:cNvPr id="598077" name="Picture 61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7419" y="1054665"/>
            <a:ext cx="6259212" cy="38888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07486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0306" name="Picture 2" descr="C:\Users\BelyakovaMO\Desktop\original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1099" y="317245"/>
            <a:ext cx="6829425" cy="45472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1918069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Объект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6360226"/>
              </p:ext>
            </p:ext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2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1906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r" defTabSz="912813">
              <a:lnSpc>
                <a:spcPct val="90000"/>
              </a:lnSpc>
            </a:pPr>
            <a:endParaRPr kumimoji="0" lang="ru-RU" sz="1200" b="1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Arial"/>
              <a:sym typeface="Arial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34491" y="195946"/>
            <a:ext cx="8942833" cy="830997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 anchorCtr="0">
            <a:spAutoFit/>
          </a:bodyPr>
          <a:lstStyle/>
          <a:p>
            <a:pPr algn="just"/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осударственный долг Иркутской области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по состоянию на 1 апреля 2016 составил 17 млрд рублей (по сравнению с аналогичным периодом 2015 года сумма государственного долга увеличилась в 1,3 раза). 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pic>
        <p:nvPicPr>
          <p:cNvPr id="604221" name="Picture 61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5894" y="1026943"/>
            <a:ext cx="6050756" cy="39244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87892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45160" y="266253"/>
            <a:ext cx="8805255" cy="338554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 anchorCtr="0">
            <a:spAutoFit/>
          </a:bodyPr>
          <a:lstStyle/>
          <a:p>
            <a:r>
              <a:rPr lang="ru-RU" sz="1600" b="1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гативные тенденции:</a:t>
            </a:r>
            <a:endParaRPr lang="ru-RU" sz="1600" b="1" dirty="0">
              <a:solidFill>
                <a:schemeClr val="accent5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8" name="TextBox 7"/>
          <p:cNvSpPr txBox="1"/>
          <p:nvPr/>
        </p:nvSpPr>
        <p:spPr>
          <a:xfrm>
            <a:off x="124967" y="714689"/>
            <a:ext cx="8825448" cy="584775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 anchorCtr="0">
            <a:spAutoFit/>
          </a:bodyPr>
          <a:lstStyle/>
          <a:p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январе – марте текущего года было введено </a:t>
            </a:r>
            <a:r>
              <a:rPr lang="ru-RU" sz="16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02,7 тыс. кв. м, что на 21,1 % меньше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казателя за тот же период 2015 года. </a:t>
            </a:r>
            <a:endParaRPr lang="ru-RU" sz="1600" dirty="0"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Прямоугольник 9"/>
          <p:cNvSpPr/>
          <p:nvPr/>
        </p:nvSpPr>
        <p:spPr bwMode="auto">
          <a:xfrm>
            <a:off x="1871825" y="4777120"/>
            <a:ext cx="542925" cy="61912"/>
          </a:xfrm>
          <a:prstGeom prst="rect">
            <a:avLst/>
          </a:prstGeom>
          <a:solidFill>
            <a:srgbClr val="ADF9F7"/>
          </a:solidFill>
          <a:ln w="9525" cap="flat" cmpd="sng" algn="ctr">
            <a:solidFill>
              <a:srgbClr val="ADF9F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 bwMode="auto">
          <a:xfrm>
            <a:off x="4032598" y="4808076"/>
            <a:ext cx="559595" cy="0"/>
          </a:xfrm>
          <a:prstGeom prst="line">
            <a:avLst/>
          </a:prstGeom>
          <a:solidFill>
            <a:schemeClr val="accent1"/>
          </a:solidFill>
          <a:ln w="349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TextBox 11"/>
          <p:cNvSpPr txBox="1"/>
          <p:nvPr/>
        </p:nvSpPr>
        <p:spPr>
          <a:xfrm>
            <a:off x="2414750" y="4677271"/>
            <a:ext cx="116089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сего, тыс. кв. м</a:t>
            </a:r>
            <a:endParaRPr lang="ru-RU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592193" y="4646315"/>
            <a:ext cx="153920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а 1000 жителей, кв. м</a:t>
            </a:r>
            <a:endParaRPr lang="ru-RU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676752" y="1272159"/>
            <a:ext cx="57218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i="1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вод в действие жилых домов</a:t>
            </a:r>
            <a:endParaRPr lang="ru-RU" sz="1400" b="1" i="1" dirty="0">
              <a:solidFill>
                <a:schemeClr val="accent5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6" name="Диаграмма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52960065"/>
              </p:ext>
            </p:extLst>
          </p:nvPr>
        </p:nvGraphicFramePr>
        <p:xfrm>
          <a:off x="486917" y="1683380"/>
          <a:ext cx="8057007" cy="29938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08103536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45159" y="266253"/>
            <a:ext cx="8805255" cy="338554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 anchorCtr="0">
            <a:spAutoFit/>
          </a:bodyPr>
          <a:lstStyle/>
          <a:p>
            <a:r>
              <a:rPr lang="ru-RU" sz="1600" b="1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гативные тенденции:</a:t>
            </a:r>
            <a:endParaRPr lang="ru-RU" sz="1600" b="1" dirty="0">
              <a:solidFill>
                <a:schemeClr val="accent5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35062" y="714688"/>
            <a:ext cx="8825448" cy="584775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 anchorCtr="0">
            <a:spAutoFit/>
          </a:bodyPr>
          <a:lstStyle/>
          <a:p>
            <a:pPr algn="just"/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Численность 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зарегистрированных безработных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а 1 марта 2016 года составила </a:t>
            </a:r>
            <a:r>
              <a:rPr lang="ru-RU" sz="16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8 285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человек, 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ровень общей безработицы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 Иркутской области в среднем за 2015 год составил </a:t>
            </a:r>
            <a:r>
              <a:rPr lang="ru-RU" sz="16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8,2 </a:t>
            </a:r>
            <a:r>
              <a:rPr lang="ru-RU" sz="16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%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z="1600" dirty="0"/>
          </a:p>
        </p:txBody>
      </p:sp>
      <p:graphicFrame>
        <p:nvGraphicFramePr>
          <p:cNvPr id="6" name="Диаграмма 5"/>
          <p:cNvGraphicFramePr/>
          <p:nvPr>
            <p:extLst>
              <p:ext uri="{D42A27DB-BD31-4B8C-83A1-F6EECF244321}">
                <p14:modId xmlns:p14="http://schemas.microsoft.com/office/powerpoint/2010/main" val="3248156944"/>
              </p:ext>
            </p:extLst>
          </p:nvPr>
        </p:nvGraphicFramePr>
        <p:xfrm>
          <a:off x="145159" y="1375663"/>
          <a:ext cx="8815351" cy="35744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77238103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45159" y="266253"/>
            <a:ext cx="8805255" cy="338554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 anchorCtr="0">
            <a:spAutoFit/>
          </a:bodyPr>
          <a:lstStyle/>
          <a:p>
            <a:r>
              <a:rPr lang="ru-RU" sz="1600" b="1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гативные тенденции:</a:t>
            </a:r>
            <a:endParaRPr lang="ru-RU" sz="1600" b="1" dirty="0">
              <a:solidFill>
                <a:schemeClr val="accent5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35062" y="635584"/>
            <a:ext cx="8825448" cy="523220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 anchorCtr="0">
            <a:spAutoFit/>
          </a:bodyPr>
          <a:lstStyle/>
          <a:p>
            <a:pPr algn="just"/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уммарная задолженность по заработной плате на 1 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преля 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16 года составила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69,8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лн рублей, 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за месяц она сократилась на 175 млн руб.</a:t>
            </a:r>
            <a:endParaRPr 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9" name="Объект 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89910314"/>
              </p:ext>
            </p:extLst>
          </p:nvPr>
        </p:nvGraphicFramePr>
        <p:xfrm>
          <a:off x="466725" y="1038225"/>
          <a:ext cx="8020050" cy="40213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8275" name="Диаграмма" r:id="rId3" imgW="7734367" imgH="4162437" progId="MSGraph.Chart.8">
                  <p:embed/>
                </p:oleObj>
              </mc:Choice>
              <mc:Fallback>
                <p:oleObj name="Диаграмма" r:id="rId3" imgW="7734367" imgH="4162437" progId="MSGraph.Chart.8">
                  <p:embed/>
                  <p:pic>
                    <p:nvPicPr>
                      <p:cNvPr id="0" name="Object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6725" y="1038225"/>
                        <a:ext cx="8020050" cy="402139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6178820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78483" y="215776"/>
            <a:ext cx="8979791" cy="338554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 anchorCtr="0">
            <a:spAutoFit/>
          </a:bodyPr>
          <a:lstStyle/>
          <a:p>
            <a:pPr algn="just"/>
            <a:r>
              <a:rPr lang="ru-RU" sz="1600" b="1" dirty="0" smtClean="0">
                <a:solidFill>
                  <a:schemeClr val="accent1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настоящее время основными задачами деятельности органов МСУ являются: </a:t>
            </a:r>
            <a:endParaRPr lang="ru-RU" sz="1600" dirty="0">
              <a:solidFill>
                <a:schemeClr val="accent1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8483" y="647700"/>
            <a:ext cx="8979791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крепление </a:t>
            </a:r>
            <a:r>
              <a:rPr 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финансово-экономической основы </a:t>
            </a: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естного самоуправления,      совершенствование межбюджетных </a:t>
            </a:r>
            <a:r>
              <a:rPr 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тношений, </a:t>
            </a: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есурсное обеспечение полномочий  </a:t>
            </a:r>
            <a:r>
              <a:rPr 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рганов  местного </a:t>
            </a: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амоуправления</a:t>
            </a:r>
          </a:p>
          <a:p>
            <a:pPr algn="just"/>
            <a:endParaRPr lang="ru-RU" sz="1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700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700" dirty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еспечение квалифицированного </a:t>
            </a:r>
            <a:r>
              <a:rPr lang="ru-RU" sz="1700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авотворчества на местном уровне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ru-RU" sz="1700" dirty="0">
              <a:solidFill>
                <a:schemeClr val="accent5">
                  <a:lumMod val="1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едупреждение и противодействие </a:t>
            </a: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ррупции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ru-RU" sz="1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700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ффективная </a:t>
            </a:r>
            <a:r>
              <a:rPr lang="ru-RU" sz="1700" dirty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ализация социально-экономического развития муниципальных </a:t>
            </a:r>
            <a:r>
              <a:rPr lang="ru-RU" sz="1700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разований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ru-RU" sz="1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ддержка и развитие малого и среднего </a:t>
            </a: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едпринимательства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ru-RU" sz="1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700" dirty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вышение инвестиционной привлекательности муниципальных </a:t>
            </a:r>
            <a:r>
              <a:rPr lang="ru-RU" sz="1700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разований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ru-RU" sz="1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частие муниципальных образований Иркутской области в государственных </a:t>
            </a: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ограммах</a:t>
            </a:r>
            <a:endParaRPr lang="ru-RU" sz="1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598221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78483" y="215776"/>
            <a:ext cx="8979791" cy="338554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 anchorCtr="0">
            <a:spAutoFit/>
          </a:bodyPr>
          <a:lstStyle/>
          <a:p>
            <a:pPr algn="just"/>
            <a:r>
              <a:rPr lang="ru-RU" sz="1600" b="1" dirty="0">
                <a:solidFill>
                  <a:schemeClr val="accent1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настоящее время основными задачами деятельности органов МСУ являются: </a:t>
            </a:r>
            <a:endParaRPr lang="ru-RU" sz="1600" dirty="0">
              <a:solidFill>
                <a:schemeClr val="accent1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8483" y="819150"/>
            <a:ext cx="8979791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оведение </a:t>
            </a:r>
            <a:r>
              <a:rPr 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аботы, направленной на сокращение миграции населения. Обеспечение и совершенствование кадровой политики в муниципальных </a:t>
            </a: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разованиях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ru-RU" sz="1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700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шение </a:t>
            </a:r>
            <a:r>
              <a:rPr lang="ru-RU" sz="1700" dirty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опросов, касающихся кадрового обеспечения органов местного </a:t>
            </a:r>
            <a:r>
              <a:rPr lang="ru-RU" sz="1700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амоуправления</a:t>
            </a:r>
            <a:endParaRPr lang="ru-RU" sz="1700" dirty="0">
              <a:solidFill>
                <a:schemeClr val="accent5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ru-RU" sz="1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еализация </a:t>
            </a:r>
            <a:r>
              <a:rPr 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циональной стратегии действий в интересах детей на 2012 – 2017 годы, утвержденной Указом Президента Российской Федерации от 1 июня 2012 года № </a:t>
            </a: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761</a:t>
            </a:r>
          </a:p>
          <a:p>
            <a:pPr algn="just"/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1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700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уществление </a:t>
            </a:r>
            <a:r>
              <a:rPr lang="ru-RU" sz="1700" dirty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ффективного взаимодействия органов государственной власти и органов местного </a:t>
            </a:r>
            <a:r>
              <a:rPr lang="ru-RU" sz="1700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амоуправления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ru-RU" sz="1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азвитие </a:t>
            </a:r>
            <a:r>
              <a:rPr 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нститутов гражданского общества, поддержка и развитие форм взаимодействия, направленных на вовлечение граждан в решение вопросов местного значения, осуществление общественного </a:t>
            </a: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нтроля</a:t>
            </a:r>
            <a:r>
              <a:rPr 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endParaRPr lang="ru-RU" sz="17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ru-RU" sz="1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700" dirty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еспечение межнационального мира и согласия на территории Иркутской </a:t>
            </a:r>
            <a:r>
              <a:rPr lang="ru-RU" sz="1700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ласти</a:t>
            </a:r>
            <a:endParaRPr lang="ru-RU" sz="1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00526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Объект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5418077"/>
              </p:ext>
            </p:ext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6830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1906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r" defTabSz="912813">
              <a:lnSpc>
                <a:spcPct val="90000"/>
              </a:lnSpc>
            </a:pPr>
            <a:endParaRPr kumimoji="0" lang="ru-RU" sz="12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Arial"/>
              <a:sym typeface="Arial"/>
            </a:endParaRPr>
          </a:p>
        </p:txBody>
      </p:sp>
      <p:sp>
        <p:nvSpPr>
          <p:cNvPr id="2053" name="Rectangle 4"/>
          <p:cNvSpPr>
            <a:spLocks noGrp="1" noChangeArrowheads="1"/>
          </p:cNvSpPr>
          <p:nvPr>
            <p:ph type="title" idx="4294967295"/>
            <p:custDataLst>
              <p:tags r:id="rId4"/>
            </p:custDataLst>
          </p:nvPr>
        </p:nvSpPr>
        <p:spPr>
          <a:xfrm>
            <a:off x="-101600" y="201817"/>
            <a:ext cx="9245600" cy="492443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600" cap="small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РАТКАЯ ХАРАКТЕРИСТИКА СОЦИАЛЬНО-ЭКОНОМИЧЕСКОЙ </a:t>
            </a:r>
            <a:r>
              <a:rPr lang="ru-RU" sz="1600" cap="small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ИТУАЦИИ</a:t>
            </a:r>
            <a:br>
              <a:rPr lang="ru-RU" sz="1600" cap="small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cap="small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В РОССИИ</a:t>
            </a:r>
            <a:endParaRPr lang="ru-RU" sz="1600" b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Line 1024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 flipV="1">
            <a:off x="145164" y="705464"/>
            <a:ext cx="8924925" cy="0"/>
          </a:xfrm>
          <a:prstGeom prst="line">
            <a:avLst/>
          </a:prstGeom>
          <a:noFill/>
          <a:ln w="25400" cmpd="sng">
            <a:solidFill>
              <a:schemeClr val="tx2">
                <a:lumMod val="90000"/>
                <a:lumOff val="1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2950" tIns="41475" rIns="82950" bIns="41475"/>
          <a:lstStyle/>
          <a:p>
            <a:endParaRPr lang="ru-RU" dirty="0"/>
          </a:p>
        </p:txBody>
      </p:sp>
      <p:sp>
        <p:nvSpPr>
          <p:cNvPr id="2" name="TextBox 1"/>
          <p:cNvSpPr txBox="1"/>
          <p:nvPr/>
        </p:nvSpPr>
        <p:spPr>
          <a:xfrm>
            <a:off x="145164" y="793672"/>
            <a:ext cx="8924925" cy="584775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 anchorCtr="0">
            <a:spAutoFit/>
          </a:bodyPr>
          <a:lstStyle/>
          <a:p>
            <a:pPr algn="just"/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 первом квартале 2016 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ода снижение ВВП составило 1,4 %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 соответствующему периоду прошлого года.  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45163" y="1378447"/>
            <a:ext cx="8924925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i="1" dirty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ндекс физического объёма ВВП </a:t>
            </a:r>
            <a:r>
              <a:rPr lang="ru-RU" sz="1600" i="1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1600" i="1" dirty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тоянных ценах</a:t>
            </a:r>
            <a:r>
              <a:rPr lang="ru-RU" sz="1600" i="1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</a:p>
          <a:p>
            <a:pPr algn="ctr"/>
            <a:r>
              <a:rPr lang="ru-RU" sz="1600" i="1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1600" i="1" dirty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% к </a:t>
            </a:r>
            <a:r>
              <a:rPr lang="ru-RU" sz="1600" i="1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ответствующему периоду 2015 г.</a:t>
            </a:r>
          </a:p>
          <a:p>
            <a:pPr algn="just"/>
            <a:endParaRPr lang="ru-RU" sz="1400" i="1" dirty="0">
              <a:solidFill>
                <a:schemeClr val="accent5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5889449" y="4903011"/>
            <a:ext cx="3842632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точник: расчеты Минэкономразвития России </a:t>
            </a:r>
            <a:endParaRPr lang="ru-RU" sz="16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2" name="Диаграмма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89510009"/>
              </p:ext>
            </p:extLst>
          </p:nvPr>
        </p:nvGraphicFramePr>
        <p:xfrm>
          <a:off x="1371865" y="2038350"/>
          <a:ext cx="6438900" cy="26169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669218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Объект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1343631"/>
              </p:ext>
            </p:ext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23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1906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r" defTabSz="912813">
              <a:lnSpc>
                <a:spcPct val="90000"/>
              </a:lnSpc>
            </a:pPr>
            <a:endParaRPr kumimoji="0" lang="ru-RU" sz="1200" b="1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Arial"/>
              <a:sym typeface="Arial"/>
            </a:endParaRPr>
          </a:p>
        </p:txBody>
      </p:sp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5" name="TextBox 4"/>
          <p:cNvSpPr txBox="1"/>
          <p:nvPr/>
        </p:nvSpPr>
        <p:spPr>
          <a:xfrm>
            <a:off x="1117464" y="2011079"/>
            <a:ext cx="690907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4000" b="1" i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СПАСИБО ЗА ВНИМАНИЕ!</a:t>
            </a:r>
            <a:endParaRPr lang="ru-RU" sz="4000" b="1" i="1" dirty="0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8772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Объект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8584114"/>
              </p:ext>
            </p:ext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7851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1906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r" defTabSz="912813">
              <a:lnSpc>
                <a:spcPct val="90000"/>
              </a:lnSpc>
            </a:pPr>
            <a:endParaRPr kumimoji="0" lang="ru-RU" sz="12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Arial"/>
              <a:sym typeface="Arial"/>
            </a:endParaRPr>
          </a:p>
        </p:txBody>
      </p:sp>
      <p:sp>
        <p:nvSpPr>
          <p:cNvPr id="2053" name="Rectangle 4"/>
          <p:cNvSpPr>
            <a:spLocks noGrp="1" noChangeArrowheads="1"/>
          </p:cNvSpPr>
          <p:nvPr>
            <p:ph type="title" idx="4294967295"/>
            <p:custDataLst>
              <p:tags r:id="rId4"/>
            </p:custDataLst>
          </p:nvPr>
        </p:nvSpPr>
        <p:spPr>
          <a:xfrm>
            <a:off x="-101600" y="201817"/>
            <a:ext cx="9245600" cy="492443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600" cap="small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РАТКАЯ ХАРАКТЕРИСТИКА СОЦИАЛЬНО-ЭКОНОМИЧЕСКОЙ </a:t>
            </a:r>
            <a:r>
              <a:rPr lang="ru-RU" sz="1600" cap="small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ИТУАЦИИ</a:t>
            </a:r>
            <a:br>
              <a:rPr lang="ru-RU" sz="1600" cap="small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cap="small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В РОССИИ</a:t>
            </a:r>
            <a:endParaRPr lang="ru-RU" sz="1600" b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Line 1024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 flipV="1">
            <a:off x="145163" y="698559"/>
            <a:ext cx="8924925" cy="0"/>
          </a:xfrm>
          <a:prstGeom prst="line">
            <a:avLst/>
          </a:prstGeom>
          <a:noFill/>
          <a:ln w="25400" cmpd="sng">
            <a:solidFill>
              <a:schemeClr val="tx2">
                <a:lumMod val="90000"/>
                <a:lumOff val="1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2950" tIns="41475" rIns="82950" bIns="41475"/>
          <a:lstStyle/>
          <a:p>
            <a:endParaRPr lang="ru-RU" dirty="0"/>
          </a:p>
        </p:txBody>
      </p:sp>
      <p:sp>
        <p:nvSpPr>
          <p:cNvPr id="2" name="TextBox 1"/>
          <p:cNvSpPr txBox="1"/>
          <p:nvPr/>
        </p:nvSpPr>
        <p:spPr>
          <a:xfrm>
            <a:off x="145163" y="818838"/>
            <a:ext cx="8924926" cy="584775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 anchorCtr="0">
            <a:spAutoFit/>
          </a:bodyPr>
          <a:lstStyle/>
          <a:p>
            <a:pPr algn="just"/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январе-марте 2016 года цена на нефть составила </a:t>
            </a:r>
            <a:r>
              <a:rPr lang="ru-RU" sz="16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31,8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долл. США за баррель, снизившись по сравнению с соответствующим периодом прошлого года на </a:t>
            </a:r>
            <a:r>
              <a:rPr lang="ru-RU" sz="16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39,7 %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5433130" y="4903462"/>
            <a:ext cx="4572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1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точник: Банк России, информационные агентства 	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746834" y="1509921"/>
            <a:ext cx="386079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100" b="1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инамика экспорта товаров и мировых цен на нефть </a:t>
            </a:r>
            <a:r>
              <a:rPr lang="en-US" sz="1100" b="1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rals </a:t>
            </a:r>
            <a:r>
              <a:rPr lang="ru-RU" sz="1100" b="1" i="1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1100" b="1" i="1" dirty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нварь 2010 г. - </a:t>
            </a:r>
            <a:r>
              <a:rPr lang="ru-RU" sz="1100" b="1" i="1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кабрь </a:t>
            </a:r>
            <a:r>
              <a:rPr lang="ru-RU" sz="1100" b="1" i="1" dirty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15 г.) </a:t>
            </a:r>
            <a:r>
              <a:rPr lang="ru-RU" sz="1100" b="1" dirty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</a:p>
          <a:p>
            <a:pPr algn="just"/>
            <a:endParaRPr lang="ru-RU" sz="1100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2286000" y="2110085"/>
            <a:ext cx="4572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dirty="0"/>
              <a:t>	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5433130" y="1509921"/>
            <a:ext cx="3454401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ru-RU" sz="1100" b="1" dirty="0">
                <a:solidFill>
                  <a:schemeClr val="accent1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инамика мировых цен на </a:t>
            </a:r>
            <a:r>
              <a:rPr lang="ru-RU" sz="1100" b="1" dirty="0" smtClean="0">
                <a:solidFill>
                  <a:schemeClr val="accent1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дь, никель </a:t>
            </a:r>
            <a:r>
              <a:rPr lang="ru-RU" sz="1100" b="1" dirty="0">
                <a:solidFill>
                  <a:schemeClr val="accent1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 алюминий </a:t>
            </a:r>
            <a:r>
              <a:rPr lang="ru-RU" sz="1100" b="1" i="1" dirty="0" smtClean="0">
                <a:solidFill>
                  <a:schemeClr val="accent1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1100" b="1" i="1" dirty="0">
                <a:solidFill>
                  <a:schemeClr val="accent1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долларах США за тонну) </a:t>
            </a:r>
            <a:endParaRPr lang="ru-RU" sz="1400" b="1" dirty="0">
              <a:solidFill>
                <a:schemeClr val="accent1">
                  <a:lumMod val="25000"/>
                </a:schemeClr>
              </a:solidFill>
            </a:endParaRPr>
          </a:p>
        </p:txBody>
      </p:sp>
      <p:pic>
        <p:nvPicPr>
          <p:cNvPr id="587796" name="Picture 20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997" y="1895184"/>
            <a:ext cx="4752563" cy="3083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7845" name="Picture 69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2783" y="2110085"/>
            <a:ext cx="3907305" cy="26502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49993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Объект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6413227"/>
              </p:ext>
            </p:ext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6250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1906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r" defTabSz="912813">
              <a:lnSpc>
                <a:spcPct val="90000"/>
              </a:lnSpc>
            </a:pPr>
            <a:endParaRPr kumimoji="0" lang="ru-RU" sz="12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Arial"/>
              <a:sym typeface="Arial"/>
            </a:endParaRPr>
          </a:p>
        </p:txBody>
      </p:sp>
      <p:sp>
        <p:nvSpPr>
          <p:cNvPr id="2053" name="Rectangle 4"/>
          <p:cNvSpPr>
            <a:spLocks noGrp="1" noChangeArrowheads="1"/>
          </p:cNvSpPr>
          <p:nvPr>
            <p:ph type="title" idx="4294967295"/>
            <p:custDataLst>
              <p:tags r:id="rId4"/>
            </p:custDataLst>
          </p:nvPr>
        </p:nvSpPr>
        <p:spPr>
          <a:xfrm>
            <a:off x="-101600" y="201817"/>
            <a:ext cx="9245600" cy="492443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600" cap="small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РАТКАЯ </a:t>
            </a:r>
            <a:r>
              <a:rPr lang="ru-RU" sz="1600" cap="small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ХАРАКТЕРИСТИКА СОЦИАЛЬНО-ЭКОНОМИЧЕСКОЙ СИТУАЦИИ</a:t>
            </a:r>
            <a:br>
              <a:rPr lang="ru-RU" sz="1600" cap="small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cap="small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В РОССИИ</a:t>
            </a:r>
            <a:endParaRPr lang="ru-RU" sz="1600" b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Line 1024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 flipV="1">
            <a:off x="145163" y="698559"/>
            <a:ext cx="8924925" cy="0"/>
          </a:xfrm>
          <a:prstGeom prst="line">
            <a:avLst/>
          </a:prstGeom>
          <a:noFill/>
          <a:ln w="25400" cmpd="sng">
            <a:solidFill>
              <a:schemeClr val="tx2">
                <a:lumMod val="90000"/>
                <a:lumOff val="1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2950" tIns="41475" rIns="82950" bIns="41475"/>
          <a:lstStyle/>
          <a:p>
            <a:endParaRPr lang="ru-RU" dirty="0"/>
          </a:p>
        </p:txBody>
      </p:sp>
      <p:sp>
        <p:nvSpPr>
          <p:cNvPr id="2" name="TextBox 1"/>
          <p:cNvSpPr txBox="1"/>
          <p:nvPr/>
        </p:nvSpPr>
        <p:spPr>
          <a:xfrm>
            <a:off x="145163" y="782197"/>
            <a:ext cx="8924925" cy="338554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 anchorCtr="0">
            <a:spAutoFit/>
          </a:bodyPr>
          <a:lstStyle/>
          <a:p>
            <a:pPr algn="just"/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ровень инфляции в России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январь 2016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прель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16), в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%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286000" y="2110085"/>
            <a:ext cx="4572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dirty="0"/>
              <a:t>	</a:t>
            </a:r>
          </a:p>
        </p:txBody>
      </p:sp>
      <p:pic>
        <p:nvPicPr>
          <p:cNvPr id="606244" name="Picture 36" descr="Уровень инфляции в России за 2016 год по месяцам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3875" y="1120751"/>
            <a:ext cx="6667500" cy="381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39109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Объект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3238104"/>
              </p:ext>
            </p:ext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8877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1906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r" defTabSz="912813">
              <a:lnSpc>
                <a:spcPct val="90000"/>
              </a:lnSpc>
            </a:pPr>
            <a:endParaRPr kumimoji="0" lang="ru-RU" sz="12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Arial"/>
              <a:sym typeface="Arial"/>
            </a:endParaRPr>
          </a:p>
        </p:txBody>
      </p:sp>
      <p:sp>
        <p:nvSpPr>
          <p:cNvPr id="2053" name="Rectangle 4"/>
          <p:cNvSpPr>
            <a:spLocks noGrp="1" noChangeArrowheads="1"/>
          </p:cNvSpPr>
          <p:nvPr>
            <p:ph type="title" idx="4294967295"/>
            <p:custDataLst>
              <p:tags r:id="rId4"/>
            </p:custDataLst>
          </p:nvPr>
        </p:nvSpPr>
        <p:spPr>
          <a:xfrm>
            <a:off x="-101600" y="201817"/>
            <a:ext cx="9245600" cy="492443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600" cap="small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РАТКАЯ ХАРАКТЕРИСТИКА СОЦИАЛЬНО-ЭКОНОМИЧЕСКОЙ </a:t>
            </a:r>
            <a:r>
              <a:rPr lang="ru-RU" sz="1600" cap="small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ИТУАЦИИ</a:t>
            </a:r>
            <a:br>
              <a:rPr lang="ru-RU" sz="1600" cap="small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cap="small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В РОССИИ</a:t>
            </a:r>
            <a:endParaRPr lang="ru-RU" sz="1600" b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Line 1024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 flipV="1">
            <a:off x="175115" y="664479"/>
            <a:ext cx="8924925" cy="0"/>
          </a:xfrm>
          <a:prstGeom prst="line">
            <a:avLst/>
          </a:prstGeom>
          <a:noFill/>
          <a:ln w="25400" cmpd="sng">
            <a:solidFill>
              <a:schemeClr val="tx2">
                <a:lumMod val="90000"/>
                <a:lumOff val="1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2950" tIns="41475" rIns="82950" bIns="41475"/>
          <a:lstStyle/>
          <a:p>
            <a:endParaRPr lang="ru-RU" dirty="0"/>
          </a:p>
        </p:txBody>
      </p:sp>
      <p:sp>
        <p:nvSpPr>
          <p:cNvPr id="2" name="TextBox 1"/>
          <p:cNvSpPr txBox="1"/>
          <p:nvPr/>
        </p:nvSpPr>
        <p:spPr>
          <a:xfrm>
            <a:off x="175114" y="698527"/>
            <a:ext cx="8924926" cy="954107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 anchorCtr="0">
            <a:spAutoFit/>
          </a:bodyPr>
          <a:lstStyle/>
          <a:p>
            <a:pPr algn="just"/>
            <a:r>
              <a:rPr lang="ru-RU" sz="14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альная заработная плата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с исключением сезонного фактора в марте, по предварительным данным, показала </a:t>
            </a:r>
            <a:r>
              <a:rPr lang="ru-RU" sz="14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нижение на 0,2 %.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торой месяц подряд </a:t>
            </a:r>
            <a:r>
              <a:rPr lang="ru-RU" sz="14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тмечается положительная динамика реальных располагаемых доходов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с исключением сезонного фактора. По предварительным данным, в марте текущего года рост ускорился до </a:t>
            </a:r>
            <a:r>
              <a:rPr lang="ru-RU" sz="14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,0 % с 0,5 %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феврале.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5813249" y="4903011"/>
            <a:ext cx="3842632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точник: расчеты </a:t>
            </a:r>
            <a:r>
              <a:rPr lang="ru-RU" sz="1100" b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Минэкономразвития </a:t>
            </a:r>
            <a:r>
              <a:rPr lang="ru-RU" sz="11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оссии </a:t>
            </a:r>
            <a:endParaRPr lang="ru-RU" sz="16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88871" name="Picture 71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1439" y="1650370"/>
            <a:ext cx="6353373" cy="32526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09670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Объект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8867025"/>
              </p:ext>
            </p:ext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091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1906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r" defTabSz="912813">
              <a:lnSpc>
                <a:spcPct val="90000"/>
              </a:lnSpc>
            </a:pPr>
            <a:endParaRPr kumimoji="0" lang="ru-RU" sz="12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Arial"/>
              <a:sym typeface="Arial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31582" y="257304"/>
            <a:ext cx="8945743" cy="338554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 anchorCtr="0">
            <a:spAutoFit/>
          </a:bodyPr>
          <a:lstStyle/>
          <a:p>
            <a:r>
              <a:rPr lang="ru-RU" sz="1600" b="1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зитивные тенденции:</a:t>
            </a:r>
            <a:endParaRPr lang="ru-RU" sz="1600" b="1" dirty="0">
              <a:solidFill>
                <a:schemeClr val="accent5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31582" y="697595"/>
            <a:ext cx="8945743" cy="523220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 anchorCtr="0">
            <a:spAutoFit/>
          </a:bodyPr>
          <a:lstStyle/>
          <a:p>
            <a:pPr algn="just"/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оличество предприятий и организаций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на 1 апреля 2016 г. составило 67,5 тыс. единиц. За год количество организаций увеличилось на 0,3 тыс. единиц (или на 0,5 %)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endParaRPr lang="ru-RU" sz="1400" b="1" dirty="0">
              <a:solidFill>
                <a:schemeClr val="accent5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0" name="Диаграмма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74103718"/>
              </p:ext>
            </p:extLst>
          </p:nvPr>
        </p:nvGraphicFramePr>
        <p:xfrm>
          <a:off x="304799" y="1574729"/>
          <a:ext cx="8524876" cy="34373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3053131" y="1271171"/>
            <a:ext cx="310264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i="1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исло организаций, в % к итогу</a:t>
            </a:r>
            <a:endParaRPr lang="ru-RU" sz="1600" b="1" i="1" dirty="0">
              <a:solidFill>
                <a:schemeClr val="accent5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1334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Объект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5025029"/>
              </p:ext>
            </p:ext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194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1906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r" defTabSz="912813">
              <a:lnSpc>
                <a:spcPct val="90000"/>
              </a:lnSpc>
            </a:pPr>
            <a:endParaRPr kumimoji="0" lang="ru-RU" sz="12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Arial"/>
              <a:sym typeface="Arial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45163" y="246016"/>
            <a:ext cx="8913112" cy="338554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 anchorCtr="0">
            <a:spAutoFit/>
          </a:bodyPr>
          <a:lstStyle/>
          <a:p>
            <a:r>
              <a:rPr lang="ru-RU" sz="1600" b="1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зитивные тенденции:</a:t>
            </a:r>
            <a:endParaRPr lang="ru-RU" sz="1600" b="1" dirty="0">
              <a:solidFill>
                <a:schemeClr val="accent5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45163" y="653661"/>
            <a:ext cx="8913112" cy="584775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 anchorCtr="0">
            <a:spAutoFit/>
          </a:bodyPr>
          <a:lstStyle/>
          <a:p>
            <a:pPr algn="just"/>
            <a:r>
              <a:rPr lang="ru-RU" sz="16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ндекс промышленного производства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январе-марте 2016 года по сравнению с январем-мартом 2015 года по полному кругу организаций составил </a:t>
            </a:r>
            <a:r>
              <a:rPr lang="ru-RU" sz="16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06,0 %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В России - </a:t>
            </a:r>
            <a:r>
              <a:rPr lang="ru-RU" sz="16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99,4 %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в СФО – </a:t>
            </a:r>
            <a:r>
              <a:rPr lang="ru-RU" sz="16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99,2 %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lang="ru-RU" sz="16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1600" i="1" dirty="0">
              <a:solidFill>
                <a:schemeClr val="accent5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6" name="Диаграмма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55450917"/>
              </p:ext>
            </p:extLst>
          </p:nvPr>
        </p:nvGraphicFramePr>
        <p:xfrm>
          <a:off x="363094" y="1543236"/>
          <a:ext cx="8171306" cy="33240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729381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Овал 17"/>
          <p:cNvSpPr/>
          <p:nvPr/>
        </p:nvSpPr>
        <p:spPr bwMode="auto">
          <a:xfrm>
            <a:off x="4274145" y="2443336"/>
            <a:ext cx="657552" cy="32026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Овал 14"/>
          <p:cNvSpPr/>
          <p:nvPr/>
        </p:nvSpPr>
        <p:spPr bwMode="auto">
          <a:xfrm>
            <a:off x="5130705" y="2958584"/>
            <a:ext cx="657552" cy="32026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Овал 15"/>
          <p:cNvSpPr/>
          <p:nvPr/>
        </p:nvSpPr>
        <p:spPr bwMode="auto">
          <a:xfrm>
            <a:off x="5578068" y="3447176"/>
            <a:ext cx="657552" cy="32026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Овал 16"/>
          <p:cNvSpPr/>
          <p:nvPr/>
        </p:nvSpPr>
        <p:spPr bwMode="auto">
          <a:xfrm>
            <a:off x="4918860" y="3956701"/>
            <a:ext cx="657552" cy="32026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23825" y="214971"/>
            <a:ext cx="8934450" cy="338554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 anchorCtr="0">
            <a:spAutoFit/>
          </a:bodyPr>
          <a:lstStyle/>
          <a:p>
            <a:r>
              <a:rPr lang="ru-RU" sz="1600" b="1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зитивные тенденции:</a:t>
            </a:r>
            <a:endParaRPr lang="ru-RU" sz="1600" b="1" dirty="0">
              <a:solidFill>
                <a:schemeClr val="accent5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23825" y="641325"/>
            <a:ext cx="8913115" cy="523220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 anchorCtr="0">
            <a:spAutoFit/>
          </a:bodyPr>
          <a:lstStyle/>
          <a:p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1 квартале 2016 г. число родившихся на территории Иркутской области составило </a:t>
            </a:r>
            <a:r>
              <a:rPr lang="ru-RU" sz="14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8 694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овека, умерших – </a:t>
            </a:r>
            <a:r>
              <a:rPr lang="ru-RU" sz="14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8 384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Естественный прирост населения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риангарья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за первый квартал составил 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310 человек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z="1400" dirty="0"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Диаграмма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94991831"/>
              </p:ext>
            </p:extLst>
          </p:nvPr>
        </p:nvGraphicFramePr>
        <p:xfrm>
          <a:off x="1123950" y="1924051"/>
          <a:ext cx="7258050" cy="28884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2012422" y="1399139"/>
            <a:ext cx="47186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400" b="1" i="1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стественное движение населения Иркутской области </a:t>
            </a:r>
            <a:endParaRPr lang="ru-RU" sz="1400" b="1" i="1" dirty="0">
              <a:solidFill>
                <a:schemeClr val="accent5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913193" y="3978331"/>
            <a:ext cx="6575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 smtClean="0">
                <a:solidFill>
                  <a:srgbClr val="008000"/>
                </a:solidFill>
              </a:rPr>
              <a:t>+3 200</a:t>
            </a:r>
            <a:endParaRPr lang="ru-RU" sz="1200" b="1" dirty="0">
              <a:solidFill>
                <a:srgbClr val="0080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578068" y="3468806"/>
            <a:ext cx="6575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 smtClean="0">
                <a:solidFill>
                  <a:srgbClr val="008000"/>
                </a:solidFill>
              </a:rPr>
              <a:t>+4 916</a:t>
            </a:r>
            <a:endParaRPr lang="ru-RU" sz="1200" b="1" dirty="0">
              <a:solidFill>
                <a:srgbClr val="00800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236045" y="2464966"/>
            <a:ext cx="6575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 smtClean="0">
                <a:solidFill>
                  <a:srgbClr val="008000"/>
                </a:solidFill>
              </a:rPr>
              <a:t>+3 729</a:t>
            </a:r>
            <a:endParaRPr lang="ru-RU" sz="1200" b="1" dirty="0">
              <a:solidFill>
                <a:srgbClr val="0080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098860" y="2960053"/>
            <a:ext cx="8589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rgbClr val="008000"/>
                </a:solidFill>
              </a:rPr>
              <a:t>+4 875</a:t>
            </a:r>
            <a:endParaRPr lang="ru-RU" sz="1200" b="1" dirty="0">
              <a:solidFill>
                <a:srgbClr val="008000"/>
              </a:solidFill>
            </a:endParaRPr>
          </a:p>
        </p:txBody>
      </p:sp>
      <p:sp>
        <p:nvSpPr>
          <p:cNvPr id="5" name="Овал 4"/>
          <p:cNvSpPr/>
          <p:nvPr/>
        </p:nvSpPr>
        <p:spPr bwMode="auto">
          <a:xfrm>
            <a:off x="4615431" y="1939184"/>
            <a:ext cx="657552" cy="32026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615431" y="1960814"/>
            <a:ext cx="6575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 smtClean="0">
                <a:solidFill>
                  <a:srgbClr val="008000"/>
                </a:solidFill>
              </a:rPr>
              <a:t>+4 102</a:t>
            </a:r>
            <a:endParaRPr lang="ru-RU" sz="1200" b="1" dirty="0">
              <a:solidFill>
                <a:srgbClr val="008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73318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Объект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4714163"/>
              </p:ext>
            </p:ext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8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1906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r" defTabSz="912813">
              <a:lnSpc>
                <a:spcPct val="90000"/>
              </a:lnSpc>
            </a:pPr>
            <a:endParaRPr kumimoji="0" lang="ru-RU" sz="1200" b="1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Arial"/>
              <a:sym typeface="Arial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45160" y="650895"/>
            <a:ext cx="8932165" cy="830997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 anchorCtr="0">
            <a:spAutoFit/>
          </a:bodyPr>
          <a:lstStyle/>
          <a:p>
            <a:pPr algn="just"/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1 квартале 2016 года в Иркутской области наблюдалось </a:t>
            </a:r>
            <a:r>
              <a:rPr lang="ru-RU" sz="16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нижение уровня инфляции на продовольственном рынке более чем в 3,5 раза по сравнению с 1 кварталом 2015 года (с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8,1 % до 2,3 %).</a:t>
            </a:r>
            <a:endParaRPr lang="ru-RU" sz="1600" b="1" i="1" dirty="0"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10" name="TextBox 9"/>
          <p:cNvSpPr txBox="1"/>
          <p:nvPr/>
        </p:nvSpPr>
        <p:spPr>
          <a:xfrm>
            <a:off x="145160" y="220392"/>
            <a:ext cx="8932165" cy="338554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 anchorCtr="0">
            <a:spAutoFit/>
          </a:bodyPr>
          <a:lstStyle/>
          <a:p>
            <a:r>
              <a:rPr lang="ru-RU" sz="1600" b="1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нонаправленные тенденции:</a:t>
            </a:r>
            <a:endParaRPr lang="ru-RU" sz="1600" b="1" dirty="0">
              <a:solidFill>
                <a:schemeClr val="accent5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45159" y="1584395"/>
            <a:ext cx="8932165" cy="37240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6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Базовый индекс потребительских цен (БИПЦ)</a:t>
            </a:r>
            <a:r>
              <a:rPr lang="ru-RU" sz="16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сключающий изменения цен на отдельные товары, подверженные влиянию факторов административного или сезонного характера, в марте 2016 г. по отношению к предыдущему месяцу составил </a:t>
            </a:r>
            <a:r>
              <a:rPr lang="ru-RU" sz="16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01,1 %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(в марте 2015 г. – </a:t>
            </a:r>
            <a:r>
              <a:rPr lang="ru-RU" sz="16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02,3 %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. В марте 2016 г. цены на продовольственные товары повысились на 0,2 % (в марте 2015 г. – на 1,2 %). 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6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тоимость фиксированного набора потребительских товаров и услуг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ля межрегиональных сопоставлений покупательной способности населения в среднем по Иркутской области в марте составила </a:t>
            </a:r>
            <a:r>
              <a:rPr lang="ru-RU" sz="16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2 896,1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уб. в расчете на одного человека и за месяц </a:t>
            </a:r>
            <a:r>
              <a:rPr lang="ru-RU" sz="16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величилась на 0,6 %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(в марте 2015 г. – на 1,4 %). 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6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тоимость минимального набора основных продуктов питания</a:t>
            </a:r>
            <a:r>
              <a:rPr lang="ru-RU" sz="16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марте составила </a:t>
            </a:r>
            <a:r>
              <a:rPr lang="ru-RU" sz="16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3 919,0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уб. в расчете на месяц и </a:t>
            </a:r>
            <a:r>
              <a:rPr lang="ru-RU" sz="16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величилась на 0,4 %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 сравнению с февралем. Из шести наблюдаемых городов максимальная стоимость набора отмечается в г. Братске (4 154,1 руб.),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что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 12,3 % дороже, чем в г. Зиме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 698,1 руб.). </a:t>
            </a:r>
          </a:p>
          <a:p>
            <a:pPr algn="just"/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7954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3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3&quot;&gt;&lt;elem m_fUsage=&quot;7.41111236974464930000E+000&quot;&gt;&lt;m_ppcolschidx val=&quot;0&quot;/&gt;&lt;m_rgb r=&quot;b6&quot; g=&quot;fc&quot; b=&quot;a9&quot;/&gt;&lt;/elem&gt;&lt;elem m_fUsage=&quot;2.21581152386072230000E+000&quot;&gt;&lt;m_ppcolschidx val=&quot;0&quot;/&gt;&lt;m_rgb r=&quot;ef&quot; g=&quot;bf&quot; b=&quot;ba&quot;/&gt;&lt;/elem&gt;&lt;elem m_fUsage=&quot;1.22760555895306840000E-001&quot;&gt;&lt;m_ppcolschidx val=&quot;0&quot;/&gt;&lt;m_rgb r=&quot;e8&quot; g=&quot;a0&quot; b=&quot;99&quot;/&gt;&lt;/elem&gt;&lt;/m_vecMRU&gt;&lt;/m_mruColor&gt;&lt;m_mapectfillschemeMRU&gt;&lt;key val=&quot;0&quot;/&gt;&lt;elem&gt;&lt;m_nPartnerID val=&quot;530&quot;/&gt;&lt;m_nIndex val=&quot;3&quot;/&gt;&lt;/elem&gt;&lt;key val=&quot;1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217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pSZtwW_O0adpfNTuRFwz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VnHWX9mwk6QmJ4rQ8GKG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KDWcGPlEi0A2zJoodo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0KJFEN90iedtgZunYx5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8nFrks.kC5W0dzjULtG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KDWcGPlEi0A2zJoodoI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0KJFEN90iedtgZunYx5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8nFrks.kC5W0dzjULtG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KDWcGPlEi0A2zJoodoI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0KJFEN90iedtgZunYx5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8nFrks.kC5W0dzjULtG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KDWcGPlEi0A2zJoodoI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0KJFEN90iedtgZunYx5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8nFrks.kC5W0dzjULtG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KDWcGPlEi0A2zJoodoI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KDWcGPlEi0A2zJoodoI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KDWcGPlEi0A2zJoodo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KDWcGPlEi0A2zJoodoI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KDWcGPlEi0A2zJoodoI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KDWcGPlEi0A2zJoodoIQ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KDWcGPlEi0A2zJoodoI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pSZtwW_O0adpfNTuRFwz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VnHWX9mwk6QmJ4rQ8GKG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heme/theme1.xml><?xml version="1.0" encoding="utf-8"?>
<a:theme xmlns:a="http://schemas.openxmlformats.org/drawingml/2006/main" name="13_Universal Template_RU">
  <a:themeElements>
    <a:clrScheme name="Universal Template_RU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Universal Template_R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281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281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Universal Template_RU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3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F8DFF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557FE7"/>
        </a:accent6>
        <a:hlink>
          <a:srgbClr val="96C5F8"/>
        </a:hlink>
        <a:folHlink>
          <a:srgbClr val="D8E9F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4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2960"/>
        </a:accent1>
        <a:accent2>
          <a:srgbClr val="0066CC"/>
        </a:accent2>
        <a:accent3>
          <a:srgbClr val="AAAAAA"/>
        </a:accent3>
        <a:accent4>
          <a:srgbClr val="DADADA"/>
        </a:accent4>
        <a:accent5>
          <a:srgbClr val="AAACB6"/>
        </a:accent5>
        <a:accent6>
          <a:srgbClr val="005CB9"/>
        </a:accent6>
        <a:hlink>
          <a:srgbClr val="91B0FF"/>
        </a:hlink>
        <a:folHlink>
          <a:srgbClr val="C7E0FB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E7B95C"/>
        </a:accent6>
        <a:hlink>
          <a:srgbClr val="4F8636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6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7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AAA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8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9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0A2A0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10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174A7C"/>
        </a:accent1>
        <a:accent2>
          <a:srgbClr val="50A2A0"/>
        </a:accent2>
        <a:accent3>
          <a:srgbClr val="AAAAAA"/>
        </a:accent3>
        <a:accent4>
          <a:srgbClr val="DADADA"/>
        </a:accent4>
        <a:accent5>
          <a:srgbClr val="ABB1BF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8_Universal Template_RU">
  <a:themeElements>
    <a:clrScheme name="3_Universal Template_RU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3_Universal Template_R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287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7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287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7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3_Universal Template_RU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Universal Template_RU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Universal Template_RU 3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F8DFF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557FE7"/>
        </a:accent6>
        <a:hlink>
          <a:srgbClr val="96C5F8"/>
        </a:hlink>
        <a:folHlink>
          <a:srgbClr val="D8E9F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Universal Template_RU 4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2960"/>
        </a:accent1>
        <a:accent2>
          <a:srgbClr val="0066CC"/>
        </a:accent2>
        <a:accent3>
          <a:srgbClr val="AAAAAA"/>
        </a:accent3>
        <a:accent4>
          <a:srgbClr val="DADADA"/>
        </a:accent4>
        <a:accent5>
          <a:srgbClr val="AAACB6"/>
        </a:accent5>
        <a:accent6>
          <a:srgbClr val="005CB9"/>
        </a:accent6>
        <a:hlink>
          <a:srgbClr val="91B0FF"/>
        </a:hlink>
        <a:folHlink>
          <a:srgbClr val="C7E0FB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Universal Template_RU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E7B95C"/>
        </a:accent6>
        <a:hlink>
          <a:srgbClr val="4F8636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Universal Template_RU 6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Universal Template_RU 7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AAA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Universal Template_RU 8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Universal Template_RU 9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0A2A0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Universal Template_RU 10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174A7C"/>
        </a:accent1>
        <a:accent2>
          <a:srgbClr val="50A2A0"/>
        </a:accent2>
        <a:accent3>
          <a:srgbClr val="AAAAAA"/>
        </a:accent3>
        <a:accent4>
          <a:srgbClr val="DADADA"/>
        </a:accent4>
        <a:accent5>
          <a:srgbClr val="ABB1BF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1953</TotalTime>
  <Words>1031</Words>
  <Application>Microsoft Office PowerPoint</Application>
  <PresentationFormat>Экран (16:9)</PresentationFormat>
  <Paragraphs>180</Paragraphs>
  <Slides>20</Slides>
  <Notes>13</Notes>
  <HiddenSlides>0</HiddenSlides>
  <MMClips>0</MMClips>
  <ScaleCrop>false</ScaleCrop>
  <HeadingPairs>
    <vt:vector size="6" baseType="variant"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20</vt:i4>
      </vt:variant>
    </vt:vector>
  </HeadingPairs>
  <TitlesOfParts>
    <vt:vector size="25" baseType="lpstr">
      <vt:lpstr>13_Universal Template_RU</vt:lpstr>
      <vt:lpstr>18_Universal Template_RU</vt:lpstr>
      <vt:lpstr>Специальное оформление</vt:lpstr>
      <vt:lpstr>think-cell Slide</vt:lpstr>
      <vt:lpstr>Диаграмма</vt:lpstr>
      <vt:lpstr>Презентация PowerPoint</vt:lpstr>
      <vt:lpstr>КРАТКАЯ ХАРАКТЕРИСТИКА СОЦИАЛЬНО-ЭКОНОМИЧЕСКОЙ СИТУАЦИИ  В РОССИИ</vt:lpstr>
      <vt:lpstr>КРАТКАЯ ХАРАКТЕРИСТИКА СОЦИАЛЬНО-ЭКОНОМИЧЕСКОЙ СИТУАЦИИ  В РОССИИ</vt:lpstr>
      <vt:lpstr>КРАТКАЯ ХАРАКТЕРИСТИКА СОЦИАЛЬНО-ЭКОНОМИЧЕСКОЙ СИТУАЦИИ  В РОССИИ</vt:lpstr>
      <vt:lpstr>КРАТКАЯ ХАРАКТЕРИСТИКА СОЦИАЛЬНО-ЭКОНОМИЧЕСКОЙ СИТУАЦИИ  В РОССИ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ДИНАМИКА ПОСТУПЛЕНИЙ ДОХОДОВ В КОНСОЛИДИРОВАННЫЙ БЮДЖЕТ  ЗА 6 МЕСЯЦЕВ 2008-2009 ГГ.  (НЕЦЕЛЕВЫЕ ДОХОДЫ)</dc:title>
  <dc:creator>Шведов Е.В.</dc:creator>
  <cp:lastModifiedBy>Белякова Мария Олеговна</cp:lastModifiedBy>
  <cp:revision>2719</cp:revision>
  <cp:lastPrinted>2015-11-19T04:54:41Z</cp:lastPrinted>
  <dcterms:created xsi:type="dcterms:W3CDTF">2009-08-17T06:59:56Z</dcterms:created>
  <dcterms:modified xsi:type="dcterms:W3CDTF">2016-05-18T07:56:45Z</dcterms:modified>
</cp:coreProperties>
</file>